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slideLayouts/slideLayout31.xml" ContentType="application/vnd.openxmlformats-officedocument.presentationml.slideLayout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notesSlides/notesSlide7.xml" ContentType="application/vnd.openxmlformats-officedocument.presentationml.notes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slideLayouts/slideLayout29.xml" ContentType="application/vnd.openxmlformats-officedocument.presentationml.slideLayout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revisionInfo.xml" ContentType="application/vnd.ms-powerpoint.revisioninfo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slideLayouts/slideLayout32.xml" ContentType="application/vnd.openxmlformats-officedocument.presentationml.slideLayout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Layouts/slideLayout4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Layouts/slideLayout33.xml" ContentType="application/vnd.openxmlformats-officedocument.presentationml.slideLayout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slideLayouts/slideLayout40.xml" ContentType="application/vnd.openxmlformats-officedocument.presentationml.slideLayout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notesSlides/notesSlide9.xml" ContentType="application/vnd.openxmlformats-officedocument.presentationml.notesSlide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9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slideLayouts/slideLayout34.xml" ContentType="application/vnd.openxmlformats-officedocument.presentationml.slideLayout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slideLayouts/slideLayout41.xml" ContentType="application/vnd.openxmlformats-officedocument.presentationml.slideLayout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slideLayouts/slideLayout30.xml" ContentType="application/vnd.openxmlformats-officedocument.presentationml.slideLayout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slideLayouts/slideLayout39.xml" ContentType="application/vnd.openxmlformats-officedocument.presentationml.slideLayout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Layouts/slideLayout28.xml" ContentType="application/vnd.openxmlformats-officedocument.presentationml.slideLayout+xml"/>
  <Override PartName="/ppt/tags/tag89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5" r:id="rId1"/>
    <p:sldMasterId id="2147483700" r:id="rId2"/>
  </p:sldMasterIdLst>
  <p:notesMasterIdLst>
    <p:notesMasterId r:id="rId25"/>
  </p:notesMasterIdLst>
  <p:handoutMasterIdLst>
    <p:handoutMasterId r:id="rId26"/>
  </p:handoutMasterIdLst>
  <p:sldIdLst>
    <p:sldId id="261" r:id="rId3"/>
    <p:sldId id="605" r:id="rId4"/>
    <p:sldId id="606" r:id="rId5"/>
    <p:sldId id="460" r:id="rId6"/>
    <p:sldId id="656" r:id="rId7"/>
    <p:sldId id="607" r:id="rId8"/>
    <p:sldId id="599" r:id="rId9"/>
    <p:sldId id="655" r:id="rId10"/>
    <p:sldId id="627" r:id="rId11"/>
    <p:sldId id="649" r:id="rId12"/>
    <p:sldId id="657" r:id="rId13"/>
    <p:sldId id="608" r:id="rId14"/>
    <p:sldId id="462" r:id="rId15"/>
    <p:sldId id="658" r:id="rId16"/>
    <p:sldId id="659" r:id="rId17"/>
    <p:sldId id="660" r:id="rId18"/>
    <p:sldId id="661" r:id="rId19"/>
    <p:sldId id="662" r:id="rId20"/>
    <p:sldId id="663" r:id="rId21"/>
    <p:sldId id="664" r:id="rId22"/>
    <p:sldId id="665" r:id="rId23"/>
    <p:sldId id="445" r:id="rId24"/>
  </p:sldIdLst>
  <p:sldSz cx="9144000" cy="6858000" type="screen4x3"/>
  <p:notesSz cx="6797675" cy="9928225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38">
          <p15:clr>
            <a:srgbClr val="A4A3A4"/>
          </p15:clr>
        </p15:guide>
        <p15:guide id="2" orient="horz" pos="890">
          <p15:clr>
            <a:srgbClr val="A4A3A4"/>
          </p15:clr>
        </p15:guide>
        <p15:guide id="3" pos="5602">
          <p15:clr>
            <a:srgbClr val="A4A3A4"/>
          </p15:clr>
        </p15:guide>
        <p15:guide id="4" pos="2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8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aryn" initials="T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B5121B"/>
    <a:srgbClr val="00329B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769" autoAdjust="0"/>
    <p:restoredTop sz="85525" autoAdjust="0"/>
  </p:normalViewPr>
  <p:slideViewPr>
    <p:cSldViewPr>
      <p:cViewPr varScale="1">
        <p:scale>
          <a:sx n="99" d="100"/>
          <a:sy n="99" d="100"/>
        </p:scale>
        <p:origin x="-1974" y="-96"/>
      </p:cViewPr>
      <p:guideLst>
        <p:guide orient="horz" pos="3838"/>
        <p:guide orient="horz" pos="890"/>
        <p:guide pos="5602"/>
        <p:guide pos="20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howGuides="1">
      <p:cViewPr varScale="1">
        <p:scale>
          <a:sx n="69" d="100"/>
          <a:sy n="69" d="100"/>
        </p:scale>
        <p:origin x="-3456" y="-108"/>
      </p:cViewPr>
      <p:guideLst>
        <p:guide orient="horz" pos="2880"/>
        <p:guide orient="horz" pos="3128"/>
        <p:guide pos="2160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33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1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7" y="1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C7F027-379E-4D32-9199-1B8938F68AAE}" type="datetimeFigureOut">
              <a:rPr lang="en-GB" smtClean="0"/>
              <a:pPr/>
              <a:t>07/02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9430091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7" y="9430091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B3FB82-2445-4031-8D77-475052559E5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762455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1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7" y="1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7E7989-31F3-4EB9-8547-909D99F43AE5}" type="datetimeFigureOut">
              <a:rPr lang="en-ZA" smtClean="0"/>
              <a:pPr/>
              <a:t>2018/02/07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" y="9430091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7" y="9430091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E2897E-B052-44CE-92A6-D4B2AB10F3F6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665600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1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1287028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9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12153129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11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3767505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13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0045036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15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34135209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17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16602493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18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5429579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19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14793960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21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3487992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4" Type="http://schemas.openxmlformats.org/officeDocument/2006/relationships/image" Target="../media/image9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tags" Target="../tags/tag5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tags" Target="../tags/tag57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4" Type="http://schemas.openxmlformats.org/officeDocument/2006/relationships/image" Target="../media/image1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4" Type="http://schemas.openxmlformats.org/officeDocument/2006/relationships/image" Target="../media/image11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4" Type="http://schemas.openxmlformats.org/officeDocument/2006/relationships/image" Target="../media/image11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4" Type="http://schemas.openxmlformats.org/officeDocument/2006/relationships/image" Target="../media/image11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tags" Target="../tags/tag69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2.xml"/><Relationship Id="rId1" Type="http://schemas.openxmlformats.org/officeDocument/2006/relationships/tags" Target="../tags/tag7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4.xml"/><Relationship Id="rId1" Type="http://schemas.openxmlformats.org/officeDocument/2006/relationships/tags" Target="../tags/tag7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tags" Target="../tags/tag7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8.xml"/><Relationship Id="rId1" Type="http://schemas.openxmlformats.org/officeDocument/2006/relationships/tags" Target="../tags/tag77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0.xml"/><Relationship Id="rId1" Type="http://schemas.openxmlformats.org/officeDocument/2006/relationships/tags" Target="../tags/tag79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2.xml"/><Relationship Id="rId1" Type="http://schemas.openxmlformats.org/officeDocument/2006/relationships/tags" Target="../tags/tag8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4.xml"/><Relationship Id="rId1" Type="http://schemas.openxmlformats.org/officeDocument/2006/relationships/tags" Target="../tags/tag8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0.xml"/><Relationship Id="rId1" Type="http://schemas.openxmlformats.org/officeDocument/2006/relationships/tags" Target="../tags/tag89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2.xml"/><Relationship Id="rId1" Type="http://schemas.openxmlformats.org/officeDocument/2006/relationships/tags" Target="../tags/tag9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4.xml"/><Relationship Id="rId1" Type="http://schemas.openxmlformats.org/officeDocument/2006/relationships/tags" Target="../tags/tag9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5.xml"/><Relationship Id="rId4" Type="http://schemas.openxmlformats.org/officeDocument/2006/relationships/image" Target="../media/image13.png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952831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Portfolio Committee on Basic Education 6 February 2018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8320155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Portfolio Committee on Basic Education 6 February 2018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414796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Portfolio Committee on Basic Education 6 February 2018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637700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Portfolio Committee on Basic Education 6 February 2018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747828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969545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Portfolio Committee on Basic Education 6 February 2018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649385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Portfolio Committee on Basic Education 6 February 2018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840323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Portfolio Committee on Basic Education 6 February 2018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731791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Portfolio Committee on Basic Education 6 February 2018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189382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Portfolio Committee on Basic Education 6 February 2018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9070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Portfolio Committee on Basic Education 6 February 2018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60836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Portfolio Committee on Basic Education 6 February 2018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45450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Portfolio Committee on Basic Education 6 February 2018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260802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Portfolio Committee on Basic Education 6 February 2018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668631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35026" y="1734838"/>
            <a:ext cx="2842836" cy="1082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</p:spTree>
    <p:extLst>
      <p:ext uri="{BB962C8B-B14F-4D97-AF65-F5344CB8AC3E}">
        <p14:creationId xmlns:p14="http://schemas.microsoft.com/office/powerpoint/2010/main" xmlns="" val="9910667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254666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3211970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Portfolio Committee on Basic Education 6 February 2018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34757472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Portfolio Committee on Basic Education 6 February 2018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3526769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Portfolio Committee on Basic Education 6 February 2018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5595968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Portfolio Committee on Basic Education 6 February 2018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30725"/>
            <a:ext cx="1454552" cy="5367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8297145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Portfolio Committee on Basic Education 6 February 2018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617407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Portfolio Committee on Basic Education 6 February 2018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9218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200" y="6047920"/>
            <a:ext cx="1524000" cy="5624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7961954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Portfolio Committee on Basic Education 6 February 2018</a:t>
            </a:r>
            <a:endParaRPr lang="en-GB" dirty="0">
              <a:solidFill>
                <a:srgbClr val="998F86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2400" y="6019800"/>
            <a:ext cx="1600200" cy="590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58313530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Portfolio Committee on Basic Education 6 February 2018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194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04164"/>
            <a:ext cx="1371600" cy="5061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12881718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Portfolio Committee on Basic Education 6 February 2018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1929368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Portfolio Committee on Basic Education 6 February 2018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304798102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Portfolio Committee on Basic Education 6 February 2018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9249766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Portfolio Committee on Basic Education 6 February 2018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81616056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Portfolio Committee on Basic Education 6 February 2018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387641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10245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81000" y="6110243"/>
            <a:ext cx="1219199" cy="5167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83046557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Portfolio Committee on Basic Education 6 February 2018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654962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Portfolio Committee on Basic Education 6 February 2018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84271979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Portfolio Committee on Basic Education 6 February 2018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8607596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Portfolio Committee on Basic Education 6 February 2018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133869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Portfolio Committee on Basic Education 6 February 2018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820374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Portfolio Committee on Basic Education 6 February 2018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7760892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Portfolio Committee on Basic Education 6 February 2018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8023483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Portfolio Committee on Basic Education 6 February 2018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84650473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Portfolio Committee on Basic Education 6 February 2018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448748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85077" y="1820063"/>
            <a:ext cx="2376263" cy="846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0976629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374285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Portfolio Committee on Basic Education 6 February 2018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6768585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Portfolio Committee on Basic Education 6 February 2018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15329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Portfolio Committee on Basic Education 6 February 2018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085709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Portfolio Committee on Basic Education 6 February 2018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578319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Portfolio Committee on Basic Education 6 February 2018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1048080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tags" Target="../tags/tag5.xml"/><Relationship Id="rId35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vmlDrawing" Target="../drawings/vmlDrawing2.v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theme" Target="../theme/theme2.xml"/><Relationship Id="rId33" Type="http://schemas.openxmlformats.org/officeDocument/2006/relationships/oleObject" Target="../embeddings/oleObject2.bin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tags" Target="../tags/tag51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32" Type="http://schemas.openxmlformats.org/officeDocument/2006/relationships/tags" Target="../tags/tag54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tags" Target="../tags/tag50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31" Type="http://schemas.openxmlformats.org/officeDocument/2006/relationships/tags" Target="../tags/tag5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tags" Target="../tags/tag49.xml"/><Relationship Id="rId30" Type="http://schemas.openxmlformats.org/officeDocument/2006/relationships/tags" Target="../tags/tag52.xml"/><Relationship Id="rId35" Type="http://schemas.openxmlformats.org/officeDocument/2006/relationships/image" Target="../media/image1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9247409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3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Portfolio Committee on Basic Education 6 February 2018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3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092430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88" r:id="rId3"/>
    <p:sldLayoutId id="2147483686" r:id="rId4"/>
    <p:sldLayoutId id="2147483674" r:id="rId5"/>
    <p:sldLayoutId id="2147483689" r:id="rId6"/>
    <p:sldLayoutId id="2147483685" r:id="rId7"/>
    <p:sldLayoutId id="2147483679" r:id="rId8"/>
    <p:sldLayoutId id="2147483690" r:id="rId9"/>
    <p:sldLayoutId id="2147483684" r:id="rId10"/>
    <p:sldLayoutId id="2147483680" r:id="rId11"/>
    <p:sldLayoutId id="2147483691" r:id="rId12"/>
    <p:sldLayoutId id="2147483683" r:id="rId13"/>
    <p:sldLayoutId id="214748368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682" r:id="rId23"/>
    <p:sldLayoutId id="2147483670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02045190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203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Portfolio Committee on Basic Education 6 February 2018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4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132436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  <p:sldLayoutId id="2147483719" r:id="rId19"/>
    <p:sldLayoutId id="2147483720" r:id="rId20"/>
    <p:sldLayoutId id="2147483721" r:id="rId21"/>
    <p:sldLayoutId id="2147483722" r:id="rId22"/>
    <p:sldLayoutId id="2147483723" r:id="rId23"/>
    <p:sldLayoutId id="2147483724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1.xml"/><Relationship Id="rId4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4.xml"/><Relationship Id="rId4" Type="http://schemas.openxmlformats.org/officeDocument/2006/relationships/image" Target="../media/image4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0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9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9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9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0.xml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Western Cape Education Departm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83768" y="5398045"/>
            <a:ext cx="2735956" cy="551235"/>
          </a:xfrm>
        </p:spPr>
        <p:txBody>
          <a:bodyPr>
            <a:noAutofit/>
          </a:bodyPr>
          <a:lstStyle/>
          <a:p>
            <a:r>
              <a:rPr lang="en-GB" dirty="0">
                <a:latin typeface="+mn-lt"/>
              </a:rPr>
              <a:t>Committee Room M314, 3</a:t>
            </a:r>
            <a:r>
              <a:rPr lang="en-GB" baseline="30000" dirty="0">
                <a:latin typeface="+mn-lt"/>
              </a:rPr>
              <a:t>rd</a:t>
            </a:r>
            <a:r>
              <a:rPr lang="en-GB" dirty="0">
                <a:latin typeface="+mn-lt"/>
              </a:rPr>
              <a:t> Floor, Marks Building, Parliamen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W Conrad</a:t>
            </a:r>
          </a:p>
        </p:txBody>
      </p:sp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</a:t>
            </a:r>
            <a:r>
              <a:rPr lang="en-GB" dirty="0" err="1"/>
              <a:t>ortfolio</a:t>
            </a:r>
            <a:r>
              <a:rPr lang="en-GB" dirty="0"/>
              <a:t> Committe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8750783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ZA" dirty="0"/>
              <a:t>Current Position</a:t>
            </a:r>
          </a:p>
        </p:txBody>
      </p:sp>
    </p:spTree>
    <p:extLst>
      <p:ext uri="{BB962C8B-B14F-4D97-AF65-F5344CB8AC3E}">
        <p14:creationId xmlns:p14="http://schemas.microsoft.com/office/powerpoint/2010/main" xmlns="" val="21473323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ortfolio Committee on Basic Education 6 February 2018</a:t>
            </a:r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1</a:t>
            </a:fld>
            <a:endParaRPr lang="en-ZA" dirty="0"/>
          </a:p>
        </p:txBody>
      </p:sp>
      <p:sp>
        <p:nvSpPr>
          <p:cNvPr id="8" name="Title 5"/>
          <p:cNvSpPr>
            <a:spLocks noGrp="1"/>
          </p:cNvSpPr>
          <p:nvPr>
            <p:ph type="title"/>
          </p:nvPr>
        </p:nvSpPr>
        <p:spPr>
          <a:xfrm>
            <a:off x="323527" y="180976"/>
            <a:ext cx="8784977" cy="559256"/>
          </a:xfrm>
        </p:spPr>
        <p:txBody>
          <a:bodyPr/>
          <a:lstStyle/>
          <a:p>
            <a:r>
              <a:rPr lang="en-GB" dirty="0"/>
              <a:t>MTSF in APP 201819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xmlns="" id="{57A6EB24-FE57-404D-BA07-1D99D949EE65}"/>
              </a:ext>
            </a:extLst>
          </p:cNvPr>
          <p:cNvSpPr txBox="1">
            <a:spLocks/>
          </p:cNvSpPr>
          <p:nvPr/>
        </p:nvSpPr>
        <p:spPr>
          <a:xfrm>
            <a:off x="323850" y="1196753"/>
            <a:ext cx="8054230" cy="43924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4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1" indent="-228600" algn="just">
              <a:spcBef>
                <a:spcPts val="600"/>
              </a:spcBef>
              <a:defRPr/>
            </a:pPr>
            <a:r>
              <a:rPr lang="en-US" altLang="en-US" sz="20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All PPMs in Final DBE PPM and TID 201819 document dated 6 October 2017 included</a:t>
            </a:r>
          </a:p>
          <a:p>
            <a:pPr marL="228600" lvl="1" indent="-228600" algn="just">
              <a:spcBef>
                <a:spcPts val="600"/>
              </a:spcBef>
              <a:defRPr/>
            </a:pPr>
            <a:r>
              <a:rPr lang="en-US" altLang="en-US" sz="20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TIDs issues raised in some instances remain unresolved</a:t>
            </a:r>
          </a:p>
          <a:p>
            <a:pPr marL="228600" lvl="1" indent="-228600" algn="just">
              <a:spcBef>
                <a:spcPts val="600"/>
              </a:spcBef>
              <a:defRPr/>
            </a:pPr>
            <a:r>
              <a:rPr lang="en-US" altLang="en-US" sz="20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Final sign-off will be concluded once ALL issues are fully resolved</a:t>
            </a:r>
          </a:p>
          <a:p>
            <a:pPr marL="228600" lvl="1" indent="-228600" algn="just">
              <a:spcBef>
                <a:spcPts val="600"/>
              </a:spcBef>
              <a:defRPr/>
            </a:pPr>
            <a:r>
              <a:rPr lang="en-US" altLang="en-US" sz="20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PPMs may have (as indicated at HEDCOM SUBCOM 2017)</a:t>
            </a:r>
          </a:p>
          <a:p>
            <a:pPr marL="408600" lvl="2" indent="-228600" algn="just">
              <a:spcBef>
                <a:spcPts val="600"/>
              </a:spcBef>
              <a:defRPr/>
            </a:pPr>
            <a:r>
              <a:rPr lang="en-US" altLang="en-US" sz="20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 0 target</a:t>
            </a:r>
          </a:p>
          <a:p>
            <a:pPr marL="408600" lvl="2" indent="-228600" algn="just">
              <a:spcBef>
                <a:spcPts val="600"/>
              </a:spcBef>
              <a:defRPr/>
            </a:pPr>
            <a:r>
              <a:rPr lang="en-US" altLang="en-US" sz="20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Low targets</a:t>
            </a:r>
          </a:p>
          <a:p>
            <a:pPr marL="408600" lvl="2" indent="-228600" algn="just">
              <a:spcBef>
                <a:spcPts val="600"/>
              </a:spcBef>
              <a:defRPr/>
            </a:pPr>
            <a:r>
              <a:rPr lang="en-US" altLang="en-US" sz="20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n/a</a:t>
            </a:r>
          </a:p>
          <a:p>
            <a:pPr marL="408600" lvl="2" indent="-228600" algn="just">
              <a:spcBef>
                <a:spcPts val="600"/>
              </a:spcBef>
              <a:defRPr/>
            </a:pPr>
            <a:endParaRPr lang="en-US" altLang="en-US" sz="2000" dirty="0">
              <a:solidFill>
                <a:schemeClr val="tx2">
                  <a:lumMod val="75000"/>
                </a:schemeClr>
              </a:solidFill>
              <a:latin typeface="Century Gothic"/>
              <a:ea typeface="Times New Roman"/>
              <a:cs typeface="Arial"/>
            </a:endParaRPr>
          </a:p>
          <a:p>
            <a:pPr marL="180000" lvl="2" indent="0" algn="just">
              <a:spcBef>
                <a:spcPts val="600"/>
              </a:spcBef>
              <a:buNone/>
              <a:defRPr/>
            </a:pPr>
            <a:endParaRPr lang="en-US" altLang="en-US" sz="2000" dirty="0">
              <a:solidFill>
                <a:schemeClr val="tx2">
                  <a:lumMod val="75000"/>
                </a:schemeClr>
              </a:solidFill>
              <a:latin typeface="Century Gothic"/>
              <a:ea typeface="Times New Roman"/>
              <a:cs typeface="Arial"/>
            </a:endParaRPr>
          </a:p>
          <a:p>
            <a:pPr marL="0" lvl="1" indent="0" algn="just">
              <a:spcBef>
                <a:spcPts val="600"/>
              </a:spcBef>
              <a:buNone/>
              <a:defRPr/>
            </a:pPr>
            <a:endParaRPr lang="en-US" altLang="en-US" sz="2000" dirty="0">
              <a:solidFill>
                <a:schemeClr val="tx2">
                  <a:lumMod val="75000"/>
                </a:schemeClr>
              </a:solidFill>
              <a:latin typeface="Century Gothic"/>
              <a:ea typeface="Times New Roman"/>
              <a:cs typeface="Arial"/>
            </a:endParaRPr>
          </a:p>
          <a:p>
            <a:pPr marL="0" lvl="1" indent="0" algn="just">
              <a:spcBef>
                <a:spcPts val="600"/>
              </a:spcBef>
              <a:buFontTx/>
              <a:buNone/>
              <a:defRPr/>
            </a:pPr>
            <a:endParaRPr lang="en-US" altLang="en-US" sz="2000" dirty="0">
              <a:solidFill>
                <a:schemeClr val="tx2">
                  <a:lumMod val="75000"/>
                </a:schemeClr>
              </a:solidFill>
              <a:latin typeface="Century Gothic"/>
              <a:ea typeface="Times New Roman"/>
              <a:cs typeface="Arial"/>
            </a:endParaRPr>
          </a:p>
          <a:p>
            <a:pPr marL="228600" lvl="1" indent="-228600" algn="just">
              <a:spcBef>
                <a:spcPts val="600"/>
              </a:spcBef>
              <a:defRPr/>
            </a:pPr>
            <a:endParaRPr lang="en-US" altLang="en-US" dirty="0">
              <a:latin typeface="Century Gothic"/>
              <a:ea typeface="Times New Roman"/>
              <a:cs typeface="Arial"/>
            </a:endParaRPr>
          </a:p>
          <a:p>
            <a:pPr marL="0" lvl="1" indent="0" algn="just">
              <a:lnSpc>
                <a:spcPct val="130000"/>
              </a:lnSpc>
              <a:spcBef>
                <a:spcPts val="600"/>
              </a:spcBef>
              <a:buFontTx/>
              <a:buNone/>
              <a:defRPr/>
            </a:pPr>
            <a:endParaRPr lang="en-US" altLang="en-US" dirty="0">
              <a:latin typeface="Century Gothic"/>
              <a:ea typeface="Times New Roman"/>
              <a:cs typeface="Arial"/>
            </a:endParaRPr>
          </a:p>
          <a:p>
            <a:pPr marL="0" lvl="1" indent="0" algn="just">
              <a:lnSpc>
                <a:spcPct val="130000"/>
              </a:lnSpc>
              <a:spcBef>
                <a:spcPts val="600"/>
              </a:spcBef>
              <a:buFontTx/>
              <a:buNone/>
              <a:defRPr/>
            </a:pPr>
            <a:endParaRPr lang="en-US" altLang="en-US" dirty="0">
              <a:latin typeface="Century Gothic"/>
              <a:ea typeface="Times New Roman"/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9454767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ZA" dirty="0"/>
              <a:t>PPM 201819 Indicators </a:t>
            </a:r>
          </a:p>
        </p:txBody>
      </p:sp>
    </p:spTree>
    <p:extLst>
      <p:ext uri="{BB962C8B-B14F-4D97-AF65-F5344CB8AC3E}">
        <p14:creationId xmlns:p14="http://schemas.microsoft.com/office/powerpoint/2010/main" xmlns="" val="13146776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ortfolio Committee on Basic Education 6 February 2018</a:t>
            </a:r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3</a:t>
            </a:fld>
            <a:endParaRPr lang="en-ZA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xmlns="" id="{99219157-03D4-468D-B593-298F4DC057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380166907"/>
              </p:ext>
            </p:extLst>
          </p:nvPr>
        </p:nvGraphicFramePr>
        <p:xfrm>
          <a:off x="81744" y="734552"/>
          <a:ext cx="9001000" cy="5752233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000112">
                  <a:extLst>
                    <a:ext uri="{9D8B030D-6E8A-4147-A177-3AD203B41FA5}">
                      <a16:colId xmlns:a16="http://schemas.microsoft.com/office/drawing/2014/main" xmlns="" val="3002589092"/>
                    </a:ext>
                  </a:extLst>
                </a:gridCol>
                <a:gridCol w="3500388">
                  <a:extLst>
                    <a:ext uri="{9D8B030D-6E8A-4147-A177-3AD203B41FA5}">
                      <a16:colId xmlns:a16="http://schemas.microsoft.com/office/drawing/2014/main" xmlns="" val="2872507924"/>
                    </a:ext>
                  </a:extLst>
                </a:gridCol>
                <a:gridCol w="2250250">
                  <a:extLst>
                    <a:ext uri="{9D8B030D-6E8A-4147-A177-3AD203B41FA5}">
                      <a16:colId xmlns:a16="http://schemas.microsoft.com/office/drawing/2014/main" xmlns="" val="1423971060"/>
                    </a:ext>
                  </a:extLst>
                </a:gridCol>
                <a:gridCol w="2250250">
                  <a:extLst>
                    <a:ext uri="{9D8B030D-6E8A-4147-A177-3AD203B41FA5}">
                      <a16:colId xmlns:a16="http://schemas.microsoft.com/office/drawing/2014/main" xmlns="" val="1362660558"/>
                    </a:ext>
                  </a:extLst>
                </a:gridCol>
              </a:tblGrid>
              <a:tr h="302449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PM </a:t>
                      </a:r>
                      <a:r>
                        <a:rPr lang="en-US" sz="12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r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icator Title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tus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ent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206017429"/>
                  </a:ext>
                </a:extLst>
              </a:tr>
              <a:tr h="1239871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1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public schools that use the South African Schools Administration and Management  Systems (SA-SAMs) to electronically provide data 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med product/tool contrary to agreement that no specific tools will be named – rather that principle will prevail</a:t>
                      </a:r>
                    </a:p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n </a:t>
                      </a:r>
                      <a:r>
                        <a:rPr lang="en-US" sz="12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incialise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but not true reflection of PPM title</a:t>
                      </a:r>
                    </a:p>
                    <a:p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99931840"/>
                  </a:ext>
                </a:extLst>
              </a:tr>
              <a:tr h="647973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2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public schools that can be contacted electronically (e-mail)</a:t>
                      </a:r>
                    </a:p>
                    <a:p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stem in place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740536775"/>
                  </a:ext>
                </a:extLst>
              </a:tr>
              <a:tr h="489436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centage of education expenditure going towards non-personnel items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stem in place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621773961"/>
                  </a:ext>
                </a:extLst>
              </a:tr>
              <a:tr h="747086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4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centage of schools visited at least twice a year by District officials for monitoring and support purposes. </a:t>
                      </a:r>
                    </a:p>
                    <a:p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stem in place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224392288"/>
                  </a:ext>
                </a:extLst>
              </a:tr>
              <a:tr h="833108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5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centage of 7 to 15 year olds attending education institutions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 with reservations regarding reliability of data from sources out of PEDs control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from GHS provided by </a:t>
                      </a:r>
                      <a:r>
                        <a:rPr lang="en-US" sz="12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tsSA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DBE to provide to all PEDs for uniformity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67859536"/>
                  </a:ext>
                </a:extLst>
              </a:tr>
              <a:tr h="1284707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6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centage of learners having access to information through </a:t>
                      </a:r>
                    </a:p>
                    <a:p>
                      <a:pPr algn="just"/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a) Connectivity (other than broadband); and</a:t>
                      </a:r>
                    </a:p>
                    <a:p>
                      <a:pPr algn="just"/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b) Broadband</a:t>
                      </a:r>
                    </a:p>
                    <a:p>
                      <a:pPr algn="just"/>
                      <a:endParaRPr lang="en-ZA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incial WAN/LAN GC facilitated system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73582203"/>
                  </a:ext>
                </a:extLst>
              </a:tr>
            </a:tbl>
          </a:graphicData>
        </a:graphic>
      </p:graphicFrame>
      <p:sp>
        <p:nvSpPr>
          <p:cNvPr id="9" name="Title 5">
            <a:extLst>
              <a:ext uri="{FF2B5EF4-FFF2-40B4-BE49-F238E27FC236}">
                <a16:creationId xmlns:a16="http://schemas.microsoft.com/office/drawing/2014/main" xmlns="" id="{29AC4749-C43E-4743-9AE1-07EB203143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527" y="180976"/>
            <a:ext cx="8784977" cy="559256"/>
          </a:xfrm>
        </p:spPr>
        <p:txBody>
          <a:bodyPr/>
          <a:lstStyle/>
          <a:p>
            <a:r>
              <a:rPr lang="en-GB" dirty="0"/>
              <a:t>Program 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3622820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xmlns="" id="{298D7C9E-A9C1-4290-AEB2-8326253B6A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gram 2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2524EFA-9ED8-485B-B262-C1F00FFEB7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4</a:t>
            </a:fld>
            <a:endParaRPr lang="en-Z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1179171-0116-4C32-9747-42701FC2A0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ortfolio Committee on Basic Education 6 February 2018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76815FDC-DF88-41E6-943E-1FFE72E606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 dirty="0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xmlns="" id="{AE4B6BD9-268E-4CF9-B3A4-045887D2E6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090078751"/>
              </p:ext>
            </p:extLst>
          </p:nvPr>
        </p:nvGraphicFramePr>
        <p:xfrm>
          <a:off x="0" y="180976"/>
          <a:ext cx="9144000" cy="64560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68089">
                  <a:extLst>
                    <a:ext uri="{9D8B030D-6E8A-4147-A177-3AD203B41FA5}">
                      <a16:colId xmlns:a16="http://schemas.microsoft.com/office/drawing/2014/main" xmlns="" val="2787233150"/>
                    </a:ext>
                  </a:extLst>
                </a:gridCol>
                <a:gridCol w="3611631">
                  <a:extLst>
                    <a:ext uri="{9D8B030D-6E8A-4147-A177-3AD203B41FA5}">
                      <a16:colId xmlns:a16="http://schemas.microsoft.com/office/drawing/2014/main" xmlns="" val="2671565583"/>
                    </a:ext>
                  </a:extLst>
                </a:gridCol>
                <a:gridCol w="2478280">
                  <a:extLst>
                    <a:ext uri="{9D8B030D-6E8A-4147-A177-3AD203B41FA5}">
                      <a16:colId xmlns:a16="http://schemas.microsoft.com/office/drawing/2014/main" xmlns="" val="3612911991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xmlns="" val="2243524498"/>
                    </a:ext>
                  </a:extLst>
                </a:gridCol>
              </a:tblGrid>
              <a:tr h="436428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PM </a:t>
                      </a:r>
                      <a:r>
                        <a:rPr lang="en-US" sz="12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r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le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tus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ent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83275045"/>
                  </a:ext>
                </a:extLst>
              </a:tr>
              <a:tr h="710915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full service schools servicing learners with learning barriers</a:t>
                      </a:r>
                    </a:p>
                    <a:p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stem in place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4993086"/>
                  </a:ext>
                </a:extLst>
              </a:tr>
              <a:tr h="783765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percentage of children who turned 9 in the previous year and who are currently enrolled in Grade 4 (or a higher grade)</a:t>
                      </a:r>
                    </a:p>
                    <a:p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 with reservations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finition does not achieve objective: causes confusion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422856809"/>
                  </a:ext>
                </a:extLst>
              </a:tr>
              <a:tr h="960141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3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percentage of children who turned 12 in the preceding year and who are currently enrolled in Grade 7 (or a higher grade)</a:t>
                      </a:r>
                    </a:p>
                    <a:p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 with reservations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eds further clarification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118272315"/>
                  </a:ext>
                </a:extLst>
              </a:tr>
              <a:tr h="610999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4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schools provided with multi-media resources </a:t>
                      </a:r>
                    </a:p>
                    <a:p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stem in place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736347216"/>
                  </a:ext>
                </a:extLst>
              </a:tr>
              <a:tr h="370127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5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arner absenteeism r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haviour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pendent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600699322"/>
                  </a:ext>
                </a:extLst>
              </a:tr>
              <a:tr h="507796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6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achers absenteeism r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haviour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 circumstance dependent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30725060"/>
                  </a:ext>
                </a:extLst>
              </a:tr>
              <a:tr h="785570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7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learners in public ordinary schools benefiting from the “No Fee Schools” policy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stem in place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54014934"/>
                  </a:ext>
                </a:extLst>
              </a:tr>
              <a:tr h="610999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8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educators trained in Literacy/Language content and methodolog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tli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ourses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530462052"/>
                  </a:ext>
                </a:extLst>
              </a:tr>
              <a:tr h="610999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9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educators trained in Numeracy/Mathematics content and methodolog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tli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ourses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1712357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2950979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xmlns="" id="{298D7C9E-A9C1-4290-AEB2-8326253B6A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gram 2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2524EFA-9ED8-485B-B262-C1F00FFEB7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5</a:t>
            </a:fld>
            <a:endParaRPr lang="en-Z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1179171-0116-4C32-9747-42701FC2A0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ortfolio Committee on Basic Education 6 February 2018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76815FDC-DF88-41E6-943E-1FFE72E606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 dirty="0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xmlns="" id="{AE4B6BD9-268E-4CF9-B3A4-045887D2E6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783373930"/>
              </p:ext>
            </p:extLst>
          </p:nvPr>
        </p:nvGraphicFramePr>
        <p:xfrm>
          <a:off x="0" y="180976"/>
          <a:ext cx="9144000" cy="63600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68089">
                  <a:extLst>
                    <a:ext uri="{9D8B030D-6E8A-4147-A177-3AD203B41FA5}">
                      <a16:colId xmlns:a16="http://schemas.microsoft.com/office/drawing/2014/main" xmlns="" val="2787233150"/>
                    </a:ext>
                  </a:extLst>
                </a:gridCol>
                <a:gridCol w="3443871">
                  <a:extLst>
                    <a:ext uri="{9D8B030D-6E8A-4147-A177-3AD203B41FA5}">
                      <a16:colId xmlns:a16="http://schemas.microsoft.com/office/drawing/2014/main" xmlns="" val="2671565583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xmlns="" val="3612911991"/>
                    </a:ext>
                  </a:extLst>
                </a:gridCol>
                <a:gridCol w="3275856">
                  <a:extLst>
                    <a:ext uri="{9D8B030D-6E8A-4147-A177-3AD203B41FA5}">
                      <a16:colId xmlns:a16="http://schemas.microsoft.com/office/drawing/2014/main" xmlns="" val="2243524498"/>
                    </a:ext>
                  </a:extLst>
                </a:gridCol>
              </a:tblGrid>
              <a:tr h="525141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PM </a:t>
                      </a:r>
                      <a:r>
                        <a:rPr lang="en-US" sz="12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r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le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tus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ent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83275045"/>
                  </a:ext>
                </a:extLst>
              </a:tr>
              <a:tr h="633631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0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average hours per year spent by teachers on professional development activities. </a:t>
                      </a:r>
                      <a:endParaRPr lang="en-ZA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stem in place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4993086"/>
                  </a:ext>
                </a:extLst>
              </a:tr>
              <a:tr h="814668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1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teachers who have written the Self-Diagnostic Assessments.</a:t>
                      </a:r>
                      <a:endParaRPr lang="en-ZA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tional tool not fully developed. Piloted but not rolled out. Pre-testing is voluntary. Requires standardized national tool. WC able to provide </a:t>
                      </a:r>
                      <a:r>
                        <a:rPr lang="en-US" sz="12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Teacher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ata.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422856809"/>
                  </a:ext>
                </a:extLst>
              </a:tr>
              <a:tr h="770528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2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centage of teachers meeting required content knowledge levels after support.</a:t>
                      </a:r>
                      <a:endParaRPr lang="en-ZA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 with reservations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pected requirement is far too high at 80%.</a:t>
                      </a:r>
                    </a:p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liant on PPM 211</a:t>
                      </a:r>
                    </a:p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st testing voluntary</a:t>
                      </a:r>
                    </a:p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quires standardized national tool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118272315"/>
                  </a:ext>
                </a:extLst>
              </a:tr>
              <a:tr h="633631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3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ZA" sz="12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centage of learners in schools with at least one educator with specialist training on inclusion.</a:t>
                      </a:r>
                      <a:endParaRPr lang="en-ZA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stem in place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736347216"/>
                  </a:ext>
                </a:extLst>
              </a:tr>
              <a:tr h="1155309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4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ZA" sz="12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and percentage of </a:t>
                      </a:r>
                      <a:r>
                        <a:rPr lang="en-ZA" sz="1200" b="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unza</a:t>
                      </a:r>
                      <a:r>
                        <a:rPr lang="en-ZA" sz="12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ZA" sz="1200" b="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shaka</a:t>
                      </a:r>
                      <a:r>
                        <a:rPr lang="en-ZA" sz="12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bursary holders placed in schools within six months upon completion of studies or upon confirmation that the bursar has completed studies. </a:t>
                      </a:r>
                      <a:endParaRPr lang="en-ZA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 with concerns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received from DBE in February each year. 2 indicators are asked for here.. Calculation method clearly </a:t>
                      </a:r>
                      <a:r>
                        <a:rPr lang="en-US" sz="12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vours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 directs towards %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600699322"/>
                  </a:ext>
                </a:extLst>
              </a:tr>
              <a:tr h="945253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5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qualified Grade R-12 teachers aged 30 and below, entering the public service as teachers for the first time during the financial year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 with reservations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ade R practitioners not in employ of WCED. Able to provide number excluding Grade R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30725060"/>
                  </a:ext>
                </a:extLst>
              </a:tr>
              <a:tr h="814668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6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centage of learners who are in classes with no more than 45 learners. 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stem in place</a:t>
                      </a:r>
                    </a:p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ual figures provid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540149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80187791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2524EFA-9ED8-485B-B262-C1F00FFEB7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6</a:t>
            </a:fld>
            <a:endParaRPr lang="en-Z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1179171-0116-4C32-9747-42701FC2A0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ortfolio Committee on Basic Education 6 February 2018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76815FDC-DF88-41E6-943E-1FFE72E606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 dirty="0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xmlns="" id="{AE4B6BD9-268E-4CF9-B3A4-045887D2E6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835821823"/>
              </p:ext>
            </p:extLst>
          </p:nvPr>
        </p:nvGraphicFramePr>
        <p:xfrm>
          <a:off x="0" y="188640"/>
          <a:ext cx="9144000" cy="65103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41954">
                  <a:extLst>
                    <a:ext uri="{9D8B030D-6E8A-4147-A177-3AD203B41FA5}">
                      <a16:colId xmlns:a16="http://schemas.microsoft.com/office/drawing/2014/main" xmlns="" val="2787233150"/>
                    </a:ext>
                  </a:extLst>
                </a:gridCol>
                <a:gridCol w="4715202">
                  <a:extLst>
                    <a:ext uri="{9D8B030D-6E8A-4147-A177-3AD203B41FA5}">
                      <a16:colId xmlns:a16="http://schemas.microsoft.com/office/drawing/2014/main" xmlns="" val="2671565583"/>
                    </a:ext>
                  </a:extLst>
                </a:gridCol>
                <a:gridCol w="1307923">
                  <a:extLst>
                    <a:ext uri="{9D8B030D-6E8A-4147-A177-3AD203B41FA5}">
                      <a16:colId xmlns:a16="http://schemas.microsoft.com/office/drawing/2014/main" xmlns="" val="3612911991"/>
                    </a:ext>
                  </a:extLst>
                </a:gridCol>
                <a:gridCol w="2378921">
                  <a:extLst>
                    <a:ext uri="{9D8B030D-6E8A-4147-A177-3AD203B41FA5}">
                      <a16:colId xmlns:a16="http://schemas.microsoft.com/office/drawing/2014/main" xmlns="" val="2243524498"/>
                    </a:ext>
                  </a:extLst>
                </a:gridCol>
              </a:tblGrid>
              <a:tr h="582856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PM </a:t>
                      </a:r>
                      <a:r>
                        <a:rPr lang="en-US" sz="12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r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le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tus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ent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83275045"/>
                  </a:ext>
                </a:extLst>
              </a:tr>
              <a:tr h="823947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7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centage of schools where allocated teaching posts are all filled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stem in place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42599709"/>
                  </a:ext>
                </a:extLst>
              </a:tr>
              <a:tr h="823947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8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centage of learners provided with required textbooks in all grades and in all subjects per annum.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stem in place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227723141"/>
                  </a:ext>
                </a:extLst>
              </a:tr>
              <a:tr h="823947">
                <a:tc>
                  <a:txBody>
                    <a:bodyPr/>
                    <a:lstStyle/>
                    <a:p>
                      <a:r>
                        <a:rPr lang="en-ZA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9</a:t>
                      </a:r>
                      <a:endParaRPr lang="en-ZA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ZA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and percentage of learners who complete the whole curriculum each year.</a:t>
                      </a:r>
                      <a:endParaRPr lang="en-ZA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approved</a:t>
                      </a:r>
                      <a:endParaRPr lang="en-GB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quirements problematic </a:t>
                      </a:r>
                      <a:endParaRPr lang="en-GB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4993086"/>
                  </a:ext>
                </a:extLst>
              </a:tr>
              <a:tr h="888162"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0</a:t>
                      </a:r>
                      <a:endParaRPr lang="en-ZA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centage of schools producing a minimum set of management documents at a required standard.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stem in place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422856809"/>
                  </a:ext>
                </a:extLst>
              </a:tr>
              <a:tr h="1009785"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1</a:t>
                      </a:r>
                      <a:endParaRPr lang="en-ZA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centage of SGBs in sampled schools that meet minimum criteria in terms of effectiveness every year. 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 with suggestion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effectiveness” not measured in meetings and documents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118272315"/>
                  </a:ext>
                </a:extLst>
              </a:tr>
              <a:tr h="823947"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2</a:t>
                      </a:r>
                      <a:endParaRPr lang="en-ZA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centage of schools with more than one financial responsibility on the basis of assessment.</a:t>
                      </a:r>
                      <a:endParaRPr lang="en-ZA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stem in place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736347216"/>
                  </a:ext>
                </a:extLst>
              </a:tr>
              <a:tr h="733751"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3</a:t>
                      </a:r>
                      <a:endParaRPr lang="en-ZA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centage of learners in schools that are funded at a minimum level.</a:t>
                      </a:r>
                      <a:endParaRPr lang="en-ZA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stem in place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6006993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38811778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xmlns="" id="{298D7C9E-A9C1-4290-AEB2-8326253B6A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gram 2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2524EFA-9ED8-485B-B262-C1F00FFEB7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7</a:t>
            </a:fld>
            <a:endParaRPr lang="en-Z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1179171-0116-4C32-9747-42701FC2A0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ortfolio Committee on Basic Education 6 February 2018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76815FDC-DF88-41E6-943E-1FFE72E606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 dirty="0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xmlns="" id="{AE4B6BD9-268E-4CF9-B3A4-045887D2E6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667014208"/>
              </p:ext>
            </p:extLst>
          </p:nvPr>
        </p:nvGraphicFramePr>
        <p:xfrm>
          <a:off x="107504" y="180977"/>
          <a:ext cx="8785671" cy="63708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096">
                  <a:extLst>
                    <a:ext uri="{9D8B030D-6E8A-4147-A177-3AD203B41FA5}">
                      <a16:colId xmlns:a16="http://schemas.microsoft.com/office/drawing/2014/main" xmlns="" val="2787233150"/>
                    </a:ext>
                  </a:extLst>
                </a:gridCol>
                <a:gridCol w="4248472">
                  <a:extLst>
                    <a:ext uri="{9D8B030D-6E8A-4147-A177-3AD203B41FA5}">
                      <a16:colId xmlns:a16="http://schemas.microsoft.com/office/drawing/2014/main" xmlns="" val="2671565583"/>
                    </a:ext>
                  </a:extLst>
                </a:gridCol>
                <a:gridCol w="1476687">
                  <a:extLst>
                    <a:ext uri="{9D8B030D-6E8A-4147-A177-3AD203B41FA5}">
                      <a16:colId xmlns:a16="http://schemas.microsoft.com/office/drawing/2014/main" xmlns="" val="3612911991"/>
                    </a:ext>
                  </a:extLst>
                </a:gridCol>
                <a:gridCol w="2196416">
                  <a:extLst>
                    <a:ext uri="{9D8B030D-6E8A-4147-A177-3AD203B41FA5}">
                      <a16:colId xmlns:a16="http://schemas.microsoft.com/office/drawing/2014/main" xmlns="" val="2243524498"/>
                    </a:ext>
                  </a:extLst>
                </a:gridCol>
              </a:tblGrid>
              <a:tr h="440426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PM </a:t>
                      </a:r>
                      <a:r>
                        <a:rPr lang="en-US" sz="12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r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le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tus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ent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83275045"/>
                  </a:ext>
                </a:extLst>
              </a:tr>
              <a:tr h="551655"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1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centage of registered independent schools receiving subsidies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stem in place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4993086"/>
                  </a:ext>
                </a:extLst>
              </a:tr>
              <a:tr h="709270"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2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learners at subsidised registered independent schools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 with reservations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finition does not achieve objective: causes confusion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422856809"/>
                  </a:ext>
                </a:extLst>
              </a:tr>
              <a:tr h="866887"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3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centage  of registered independent schools  visited for monitoring and support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 with reservations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eds further clarification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118272315"/>
                  </a:ext>
                </a:extLst>
              </a:tr>
              <a:tr h="551655"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1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centage of special schools serving as Resource Centr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stem in place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736347216"/>
                  </a:ext>
                </a:extLst>
              </a:tr>
              <a:tr h="615412"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2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learners in public special schoo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 with concerns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received from DBE in February each year. 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600699322"/>
                  </a:ext>
                </a:extLst>
              </a:tr>
              <a:tr h="792766"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3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therapists/specialist staff in special schoo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 with reservations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ade R practitioners not in employ of WCED. Able to provide number excluding Grade R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30725060"/>
                  </a:ext>
                </a:extLst>
              </a:tr>
              <a:tr h="709270"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1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public schools that offer Grade R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stem in place</a:t>
                      </a:r>
                    </a:p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ual figures provid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54014934"/>
                  </a:ext>
                </a:extLst>
              </a:tr>
              <a:tr h="551655"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2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centage of Grade 1 learners who have received formal Grade R education 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stem in place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530462052"/>
                  </a:ext>
                </a:extLst>
              </a:tr>
              <a:tr h="551655"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3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and percentage of Grade R practitioners with NQF level 6 and above qualification each year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tli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ourses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1712357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6266058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xmlns="" id="{298D7C9E-A9C1-4290-AEB2-8326253B6A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gram 2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2524EFA-9ED8-485B-B262-C1F00FFEB7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8</a:t>
            </a:fld>
            <a:endParaRPr lang="en-Z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1179171-0116-4C32-9747-42701FC2A0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ortfolio Committee on Basic Education 6 February 2018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76815FDC-DF88-41E6-943E-1FFE72E606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 dirty="0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xmlns="" id="{AE4B6BD9-268E-4CF9-B3A4-045887D2E6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506337061"/>
              </p:ext>
            </p:extLst>
          </p:nvPr>
        </p:nvGraphicFramePr>
        <p:xfrm>
          <a:off x="0" y="180976"/>
          <a:ext cx="8893175" cy="62871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4669">
                  <a:extLst>
                    <a:ext uri="{9D8B030D-6E8A-4147-A177-3AD203B41FA5}">
                      <a16:colId xmlns:a16="http://schemas.microsoft.com/office/drawing/2014/main" xmlns="" val="2787233150"/>
                    </a:ext>
                  </a:extLst>
                </a:gridCol>
                <a:gridCol w="4300458">
                  <a:extLst>
                    <a:ext uri="{9D8B030D-6E8A-4147-A177-3AD203B41FA5}">
                      <a16:colId xmlns:a16="http://schemas.microsoft.com/office/drawing/2014/main" xmlns="" val="2671565583"/>
                    </a:ext>
                  </a:extLst>
                </a:gridCol>
                <a:gridCol w="1494756">
                  <a:extLst>
                    <a:ext uri="{9D8B030D-6E8A-4147-A177-3AD203B41FA5}">
                      <a16:colId xmlns:a16="http://schemas.microsoft.com/office/drawing/2014/main" xmlns="" val="3612911991"/>
                    </a:ext>
                  </a:extLst>
                </a:gridCol>
                <a:gridCol w="2223292">
                  <a:extLst>
                    <a:ext uri="{9D8B030D-6E8A-4147-A177-3AD203B41FA5}">
                      <a16:colId xmlns:a16="http://schemas.microsoft.com/office/drawing/2014/main" xmlns="" val="2243524498"/>
                    </a:ext>
                  </a:extLst>
                </a:gridCol>
              </a:tblGrid>
              <a:tr h="459561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PM </a:t>
                      </a:r>
                      <a:r>
                        <a:rPr lang="en-US" sz="12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r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le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tus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ent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83275045"/>
                  </a:ext>
                </a:extLst>
              </a:tr>
              <a:tr h="477064"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1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public ordinary schools provided with water supply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4993086"/>
                  </a:ext>
                </a:extLst>
              </a:tr>
              <a:tr h="601092"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2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public ordinary schools provided with electricity supply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422856809"/>
                  </a:ext>
                </a:extLst>
              </a:tr>
              <a:tr h="525955"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3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public ordinary schools supplied with sanitation facilities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118272315"/>
                  </a:ext>
                </a:extLst>
              </a:tr>
              <a:tr h="667889"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4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additional classrooms built in, or provided for, existing public ordinary schools (includes replacement schools)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stem in place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736347216"/>
                  </a:ext>
                </a:extLst>
              </a:tr>
              <a:tr h="642149"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5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additional specialist rooms built in public ordinary schools (includes replacement schools).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stem in place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600699322"/>
                  </a:ext>
                </a:extLst>
              </a:tr>
              <a:tr h="585504"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6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new schools completed and ready for occupation (includes replacement schools)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 with reservations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stem in place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30725060"/>
                  </a:ext>
                </a:extLst>
              </a:tr>
              <a:tr h="601092"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7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new schools under construction (includes replacement schools) 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stem in place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54014934"/>
                  </a:ext>
                </a:extLst>
              </a:tr>
              <a:tr h="575622">
                <a:tc>
                  <a:txBody>
                    <a:bodyPr/>
                    <a:lstStyle/>
                    <a:p>
                      <a:r>
                        <a:rPr lang="en-ZA" sz="12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new or additional Grade R classrooms built (includes those in replacement schools).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stem in place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530462052"/>
                  </a:ext>
                </a:extLst>
              </a:tr>
              <a:tr h="575622">
                <a:tc>
                  <a:txBody>
                    <a:bodyPr/>
                    <a:lstStyle/>
                    <a:p>
                      <a:r>
                        <a:rPr lang="en-ZA" sz="12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hostels built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 n/a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171235714"/>
                  </a:ext>
                </a:extLst>
              </a:tr>
              <a:tr h="575622">
                <a:tc>
                  <a:txBody>
                    <a:bodyPr/>
                    <a:lstStyle/>
                    <a:p>
                      <a:r>
                        <a:rPr lang="en-ZA" sz="12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schools where scheduled maintenance projects were completed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stem in place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0247579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40814699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ortfolio Committee on Basic Education 6 February 2018</a:t>
            </a:r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9</a:t>
            </a:fld>
            <a:endParaRPr lang="en-ZA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xmlns="" id="{99219157-03D4-468D-B593-298F4DC057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86184177"/>
              </p:ext>
            </p:extLst>
          </p:nvPr>
        </p:nvGraphicFramePr>
        <p:xfrm>
          <a:off x="107504" y="1196753"/>
          <a:ext cx="8784976" cy="3626535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976109">
                  <a:extLst>
                    <a:ext uri="{9D8B030D-6E8A-4147-A177-3AD203B41FA5}">
                      <a16:colId xmlns:a16="http://schemas.microsoft.com/office/drawing/2014/main" xmlns="" val="3002589092"/>
                    </a:ext>
                  </a:extLst>
                </a:gridCol>
                <a:gridCol w="3416379">
                  <a:extLst>
                    <a:ext uri="{9D8B030D-6E8A-4147-A177-3AD203B41FA5}">
                      <a16:colId xmlns:a16="http://schemas.microsoft.com/office/drawing/2014/main" xmlns="" val="2872507924"/>
                    </a:ext>
                  </a:extLst>
                </a:gridCol>
                <a:gridCol w="2808312">
                  <a:extLst>
                    <a:ext uri="{9D8B030D-6E8A-4147-A177-3AD203B41FA5}">
                      <a16:colId xmlns:a16="http://schemas.microsoft.com/office/drawing/2014/main" xmlns="" val="1423971060"/>
                    </a:ext>
                  </a:extLst>
                </a:gridCol>
                <a:gridCol w="1584176">
                  <a:extLst>
                    <a:ext uri="{9D8B030D-6E8A-4147-A177-3AD203B41FA5}">
                      <a16:colId xmlns:a16="http://schemas.microsoft.com/office/drawing/2014/main" xmlns="" val="1362660558"/>
                    </a:ext>
                  </a:extLst>
                </a:gridCol>
              </a:tblGrid>
              <a:tr h="291411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PM </a:t>
                      </a:r>
                      <a:r>
                        <a:rPr lang="en-US" sz="12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r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icator Title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tus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ent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206017429"/>
                  </a:ext>
                </a:extLst>
              </a:tr>
              <a:tr h="716700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1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centage of learners who passed National Senior Certificate (NSC)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SC data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99931840"/>
                  </a:ext>
                </a:extLst>
              </a:tr>
              <a:tr h="624325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2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centage of Grade 12 learners passing at bachelor level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SC data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740536775"/>
                  </a:ext>
                </a:extLst>
              </a:tr>
              <a:tr h="471574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3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centage of Grade 12 learners achieving 50% or more in Mathematics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SC data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621773961"/>
                  </a:ext>
                </a:extLst>
              </a:tr>
              <a:tr h="719821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4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centage of Grade 12 learners achieving 50% or more in Physical Sciences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SC data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224392288"/>
                  </a:ext>
                </a:extLst>
              </a:tr>
              <a:tr h="802704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5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secondary schools with National Senior Certificate (NSC) pass rate of 60% and above</a:t>
                      </a:r>
                      <a:endParaRPr lang="en-ZA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d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SC data</a:t>
                      </a:r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67859536"/>
                  </a:ext>
                </a:extLst>
              </a:tr>
            </a:tbl>
          </a:graphicData>
        </a:graphic>
      </p:graphicFrame>
      <p:sp>
        <p:nvSpPr>
          <p:cNvPr id="9" name="Title 5">
            <a:extLst>
              <a:ext uri="{FF2B5EF4-FFF2-40B4-BE49-F238E27FC236}">
                <a16:creationId xmlns:a16="http://schemas.microsoft.com/office/drawing/2014/main" xmlns="" id="{29AC4749-C43E-4743-9AE1-07EB203143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527" y="180976"/>
            <a:ext cx="8784977" cy="559256"/>
          </a:xfrm>
        </p:spPr>
        <p:txBody>
          <a:bodyPr/>
          <a:lstStyle/>
          <a:p>
            <a:r>
              <a:rPr lang="en-GB" dirty="0"/>
              <a:t>Program 7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42720364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Outl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995936" y="6483691"/>
            <a:ext cx="4138573" cy="230832"/>
          </a:xfrm>
        </p:spPr>
        <p:txBody>
          <a:bodyPr/>
          <a:lstStyle/>
          <a:p>
            <a:r>
              <a:rPr lang="en-US"/>
              <a:t>Portfolio Committee on Basic Education 6 February 2018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514350" indent="-514350">
              <a:lnSpc>
                <a:spcPct val="150000"/>
              </a:lnSpc>
              <a:spcBef>
                <a:spcPct val="0"/>
              </a:spcBef>
              <a:buFont typeface="+mj-lt"/>
              <a:buAutoNum type="arabicPeriod"/>
            </a:pPr>
            <a:r>
              <a:rPr lang="en-ZA" sz="2200" dirty="0">
                <a:solidFill>
                  <a:schemeClr val="tx2"/>
                </a:solidFill>
                <a:ea typeface="+mj-ea"/>
                <a:cs typeface="+mj-cs"/>
              </a:rPr>
              <a:t>Context</a:t>
            </a:r>
          </a:p>
          <a:p>
            <a:pPr marL="514350" indent="-514350">
              <a:lnSpc>
                <a:spcPct val="150000"/>
              </a:lnSpc>
              <a:spcBef>
                <a:spcPct val="0"/>
              </a:spcBef>
              <a:buFont typeface="+mj-lt"/>
              <a:buAutoNum type="arabicPeriod"/>
            </a:pPr>
            <a:r>
              <a:rPr lang="en-ZA" sz="2200" dirty="0">
                <a:solidFill>
                  <a:schemeClr val="tx2"/>
                </a:solidFill>
                <a:ea typeface="+mj-ea"/>
                <a:cs typeface="+mj-cs"/>
              </a:rPr>
              <a:t>Towards full inclusion of MTSF in APP 201819</a:t>
            </a:r>
          </a:p>
          <a:p>
            <a:pPr marL="514350" indent="-514350">
              <a:lnSpc>
                <a:spcPct val="150000"/>
              </a:lnSpc>
              <a:spcBef>
                <a:spcPct val="0"/>
              </a:spcBef>
              <a:buFont typeface="+mj-lt"/>
              <a:buAutoNum type="arabicPeriod"/>
            </a:pPr>
            <a:r>
              <a:rPr lang="en-ZA" sz="2200" dirty="0">
                <a:solidFill>
                  <a:schemeClr val="tx2"/>
                </a:solidFill>
                <a:ea typeface="+mj-ea"/>
                <a:cs typeface="+mj-cs"/>
              </a:rPr>
              <a:t>Current Position</a:t>
            </a:r>
          </a:p>
          <a:p>
            <a:pPr marL="514350" indent="-514350">
              <a:lnSpc>
                <a:spcPct val="150000"/>
              </a:lnSpc>
              <a:spcBef>
                <a:spcPct val="0"/>
              </a:spcBef>
              <a:buFont typeface="+mj-lt"/>
              <a:buAutoNum type="arabicPeriod"/>
            </a:pPr>
            <a:r>
              <a:rPr lang="en-ZA" sz="2200" dirty="0">
                <a:solidFill>
                  <a:schemeClr val="tx2"/>
                </a:solidFill>
                <a:ea typeface="+mj-ea"/>
                <a:cs typeface="+mj-cs"/>
              </a:rPr>
              <a:t>PPM 201819 Indicators</a:t>
            </a:r>
          </a:p>
          <a:p>
            <a:pPr marL="514350" indent="-514350">
              <a:lnSpc>
                <a:spcPct val="150000"/>
              </a:lnSpc>
              <a:spcBef>
                <a:spcPct val="0"/>
              </a:spcBef>
              <a:buFont typeface="+mj-lt"/>
              <a:buAutoNum type="arabicPeriod"/>
            </a:pPr>
            <a:r>
              <a:rPr lang="en-ZA" sz="2200" dirty="0">
                <a:solidFill>
                  <a:schemeClr val="tx2"/>
                </a:solidFill>
                <a:ea typeface="+mj-ea"/>
                <a:cs typeface="+mj-cs"/>
              </a:rPr>
              <a:t>In Conclusion</a:t>
            </a:r>
          </a:p>
          <a:p>
            <a:pPr marL="342900" indent="-342900">
              <a:buAutoNum type="arabicPeriod"/>
            </a:pP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42264035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ZA" dirty="0"/>
              <a:t>In Conclusion</a:t>
            </a:r>
          </a:p>
        </p:txBody>
      </p:sp>
    </p:spTree>
    <p:extLst>
      <p:ext uri="{BB962C8B-B14F-4D97-AF65-F5344CB8AC3E}">
        <p14:creationId xmlns:p14="http://schemas.microsoft.com/office/powerpoint/2010/main" xmlns="" val="24331139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ortfolio Committee on Basic Education 6 February 2018</a:t>
            </a:r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1</a:t>
            </a:fld>
            <a:endParaRPr lang="en-ZA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xmlns="" id="{57A6EB24-FE57-404D-BA07-1D99D949EE65}"/>
              </a:ext>
            </a:extLst>
          </p:cNvPr>
          <p:cNvSpPr txBox="1">
            <a:spLocks/>
          </p:cNvSpPr>
          <p:nvPr/>
        </p:nvSpPr>
        <p:spPr>
          <a:xfrm>
            <a:off x="323850" y="1196753"/>
            <a:ext cx="8054230" cy="43924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4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1" indent="-228600" algn="just">
              <a:spcBef>
                <a:spcPts val="600"/>
              </a:spcBef>
              <a:defRPr/>
            </a:pPr>
            <a:r>
              <a:rPr lang="en-US" altLang="en-US" sz="20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WC is looking forward to contributing to the finalization of the worrisome PPMs</a:t>
            </a:r>
          </a:p>
          <a:p>
            <a:pPr marL="0" lvl="1" indent="0" algn="just">
              <a:spcBef>
                <a:spcPts val="600"/>
              </a:spcBef>
              <a:buNone/>
              <a:defRPr/>
            </a:pPr>
            <a:endParaRPr lang="en-US" altLang="en-US" sz="2000" dirty="0">
              <a:solidFill>
                <a:schemeClr val="tx2">
                  <a:lumMod val="75000"/>
                </a:schemeClr>
              </a:solidFill>
              <a:latin typeface="Century Gothic"/>
              <a:ea typeface="Times New Roman"/>
              <a:cs typeface="Arial"/>
            </a:endParaRPr>
          </a:p>
          <a:p>
            <a:pPr marL="228600" lvl="1" indent="-228600" algn="just">
              <a:spcBef>
                <a:spcPts val="600"/>
              </a:spcBef>
              <a:defRPr/>
            </a:pPr>
            <a:r>
              <a:rPr lang="en-US" altLang="en-US" sz="20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WC’s stance on worrisome PPMs is out of concern for sector</a:t>
            </a:r>
          </a:p>
          <a:p>
            <a:pPr marL="228600" lvl="1" indent="-228600" algn="just">
              <a:spcBef>
                <a:spcPts val="600"/>
              </a:spcBef>
              <a:defRPr/>
            </a:pPr>
            <a:endParaRPr lang="en-US" altLang="en-US" sz="2000" dirty="0">
              <a:solidFill>
                <a:schemeClr val="tx2">
                  <a:lumMod val="75000"/>
                </a:schemeClr>
              </a:solidFill>
              <a:latin typeface="Century Gothic"/>
              <a:ea typeface="Times New Roman"/>
              <a:cs typeface="Arial"/>
            </a:endParaRPr>
          </a:p>
          <a:p>
            <a:pPr marL="228600" lvl="1" indent="-228600" algn="just">
              <a:spcBef>
                <a:spcPts val="600"/>
              </a:spcBef>
              <a:defRPr/>
            </a:pPr>
            <a:r>
              <a:rPr lang="en-US" altLang="en-US" sz="20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Impact of drought may have major impact on some PPMs, both directly and indirectly </a:t>
            </a:r>
          </a:p>
          <a:p>
            <a:pPr marL="228600" lvl="1" indent="-228600" algn="just">
              <a:spcBef>
                <a:spcPts val="600"/>
              </a:spcBef>
              <a:defRPr/>
            </a:pPr>
            <a:endParaRPr lang="en-US" altLang="en-US" sz="2000" dirty="0">
              <a:solidFill>
                <a:schemeClr val="tx2">
                  <a:lumMod val="75000"/>
                </a:schemeClr>
              </a:solidFill>
              <a:latin typeface="Century Gothic"/>
              <a:ea typeface="Times New Roman"/>
              <a:cs typeface="Arial"/>
            </a:endParaRPr>
          </a:p>
          <a:p>
            <a:pPr marL="228600" lvl="1" indent="-228600" algn="just">
              <a:spcBef>
                <a:spcPts val="600"/>
              </a:spcBef>
              <a:defRPr/>
            </a:pPr>
            <a:r>
              <a:rPr lang="en-US" altLang="en-US" sz="20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Impact of worrisome PPMs on audit reports</a:t>
            </a:r>
          </a:p>
          <a:p>
            <a:pPr marL="228600" lvl="1" indent="-228600" algn="just">
              <a:spcBef>
                <a:spcPts val="600"/>
              </a:spcBef>
              <a:defRPr/>
            </a:pPr>
            <a:endParaRPr lang="en-US" altLang="en-US" sz="2000" dirty="0">
              <a:solidFill>
                <a:schemeClr val="tx2">
                  <a:lumMod val="75000"/>
                </a:schemeClr>
              </a:solidFill>
              <a:latin typeface="Century Gothic"/>
              <a:ea typeface="Times New Roman"/>
              <a:cs typeface="Arial"/>
            </a:endParaRPr>
          </a:p>
          <a:p>
            <a:pPr marL="228600" lvl="1" indent="-228600" algn="just">
              <a:spcBef>
                <a:spcPts val="600"/>
              </a:spcBef>
              <a:defRPr/>
            </a:pPr>
            <a:r>
              <a:rPr lang="en-US" altLang="en-US" sz="20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Exposure of PEDs as consequence of unavailability of standardized tools for assessment/bargaining council agreement</a:t>
            </a:r>
          </a:p>
          <a:p>
            <a:pPr marL="180000" lvl="2" indent="0" algn="just">
              <a:spcBef>
                <a:spcPts val="600"/>
              </a:spcBef>
              <a:buNone/>
              <a:defRPr/>
            </a:pPr>
            <a:endParaRPr lang="en-US" altLang="en-US" sz="2000" dirty="0">
              <a:solidFill>
                <a:schemeClr val="tx2">
                  <a:lumMod val="75000"/>
                </a:schemeClr>
              </a:solidFill>
              <a:latin typeface="Century Gothic"/>
              <a:ea typeface="Times New Roman"/>
              <a:cs typeface="Arial"/>
            </a:endParaRPr>
          </a:p>
          <a:p>
            <a:pPr marL="180000" lvl="2" indent="0" algn="just">
              <a:spcBef>
                <a:spcPts val="600"/>
              </a:spcBef>
              <a:buNone/>
              <a:defRPr/>
            </a:pPr>
            <a:endParaRPr lang="en-US" altLang="en-US" sz="2000" dirty="0">
              <a:solidFill>
                <a:schemeClr val="tx2">
                  <a:lumMod val="75000"/>
                </a:schemeClr>
              </a:solidFill>
              <a:latin typeface="Century Gothic"/>
              <a:ea typeface="Times New Roman"/>
              <a:cs typeface="Arial"/>
            </a:endParaRPr>
          </a:p>
          <a:p>
            <a:pPr marL="0" lvl="1" indent="0" algn="just">
              <a:spcBef>
                <a:spcPts val="600"/>
              </a:spcBef>
              <a:buNone/>
              <a:defRPr/>
            </a:pPr>
            <a:endParaRPr lang="en-US" altLang="en-US" sz="2000" dirty="0">
              <a:solidFill>
                <a:schemeClr val="tx2">
                  <a:lumMod val="75000"/>
                </a:schemeClr>
              </a:solidFill>
              <a:latin typeface="Century Gothic"/>
              <a:ea typeface="Times New Roman"/>
              <a:cs typeface="Arial"/>
            </a:endParaRPr>
          </a:p>
          <a:p>
            <a:pPr marL="0" lvl="1" indent="0" algn="just">
              <a:spcBef>
                <a:spcPts val="600"/>
              </a:spcBef>
              <a:buFontTx/>
              <a:buNone/>
              <a:defRPr/>
            </a:pPr>
            <a:endParaRPr lang="en-US" altLang="en-US" sz="2000" dirty="0">
              <a:solidFill>
                <a:schemeClr val="tx2">
                  <a:lumMod val="75000"/>
                </a:schemeClr>
              </a:solidFill>
              <a:latin typeface="Century Gothic"/>
              <a:ea typeface="Times New Roman"/>
              <a:cs typeface="Arial"/>
            </a:endParaRPr>
          </a:p>
          <a:p>
            <a:pPr marL="228600" lvl="1" indent="-228600" algn="just">
              <a:spcBef>
                <a:spcPts val="600"/>
              </a:spcBef>
              <a:defRPr/>
            </a:pPr>
            <a:endParaRPr lang="en-US" altLang="en-US" dirty="0">
              <a:latin typeface="Century Gothic"/>
              <a:ea typeface="Times New Roman"/>
              <a:cs typeface="Arial"/>
            </a:endParaRPr>
          </a:p>
          <a:p>
            <a:pPr marL="0" lvl="1" indent="0" algn="just">
              <a:lnSpc>
                <a:spcPct val="130000"/>
              </a:lnSpc>
              <a:spcBef>
                <a:spcPts val="600"/>
              </a:spcBef>
              <a:buFontTx/>
              <a:buNone/>
              <a:defRPr/>
            </a:pPr>
            <a:endParaRPr lang="en-US" altLang="en-US" dirty="0">
              <a:latin typeface="Century Gothic"/>
              <a:ea typeface="Times New Roman"/>
              <a:cs typeface="Arial"/>
            </a:endParaRPr>
          </a:p>
          <a:p>
            <a:pPr marL="0" lvl="1" indent="0" algn="just">
              <a:lnSpc>
                <a:spcPct val="130000"/>
              </a:lnSpc>
              <a:spcBef>
                <a:spcPts val="600"/>
              </a:spcBef>
              <a:buFontTx/>
              <a:buNone/>
              <a:defRPr/>
            </a:pPr>
            <a:endParaRPr lang="en-US" altLang="en-US" dirty="0">
              <a:latin typeface="Century Gothic"/>
              <a:ea typeface="Times New Roman"/>
              <a:cs typeface="Arial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xmlns="" id="{5C5689CF-9C90-4DC8-8345-BA025C2897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527" y="180976"/>
            <a:ext cx="8784977" cy="559256"/>
          </a:xfrm>
        </p:spPr>
        <p:txBody>
          <a:bodyPr/>
          <a:lstStyle/>
          <a:p>
            <a:r>
              <a:rPr lang="en-US" dirty="0"/>
              <a:t>F</a:t>
            </a:r>
            <a:r>
              <a:rPr lang="en-GB" dirty="0"/>
              <a:t>or Not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00987628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xmlns="" val="15013514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ZA" dirty="0"/>
              <a:t>Context</a:t>
            </a:r>
          </a:p>
        </p:txBody>
      </p:sp>
    </p:spTree>
    <p:extLst>
      <p:ext uri="{BB962C8B-B14F-4D97-AF65-F5344CB8AC3E}">
        <p14:creationId xmlns:p14="http://schemas.microsoft.com/office/powerpoint/2010/main" xmlns="" val="29048426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5275" y="152400"/>
            <a:ext cx="8597205" cy="685800"/>
          </a:xfrm>
        </p:spPr>
        <p:txBody>
          <a:bodyPr>
            <a:normAutofit/>
          </a:bodyPr>
          <a:lstStyle/>
          <a:p>
            <a:r>
              <a:rPr lang="en-GB" dirty="0"/>
              <a:t>Vision 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solidFill>
                  <a:srgbClr val="998F86"/>
                </a:solidFill>
              </a:rPr>
              <a:t>Portfolio Committee on Basic Education 6 February 2018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4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295275" y="1412875"/>
            <a:ext cx="8620125" cy="4032448"/>
          </a:xfrm>
        </p:spPr>
        <p:txBody>
          <a:bodyPr>
            <a:normAutofit/>
          </a:bodyPr>
          <a:lstStyle/>
          <a:p>
            <a:pPr marL="0" lvl="1" indent="0" algn="ctr">
              <a:lnSpc>
                <a:spcPct val="130000"/>
              </a:lnSpc>
              <a:spcBef>
                <a:spcPts val="600"/>
              </a:spcBef>
              <a:buNone/>
            </a:pPr>
            <a:r>
              <a:rPr lang="en-ZA" sz="36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Quality education </a:t>
            </a:r>
          </a:p>
          <a:p>
            <a:pPr marL="0" lvl="1" indent="0" algn="ctr">
              <a:lnSpc>
                <a:spcPct val="130000"/>
              </a:lnSpc>
              <a:spcBef>
                <a:spcPts val="600"/>
              </a:spcBef>
              <a:buNone/>
            </a:pPr>
            <a:r>
              <a:rPr lang="en-ZA" sz="36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for every learner </a:t>
            </a:r>
          </a:p>
          <a:p>
            <a:pPr marL="0" lvl="1" indent="0" algn="ctr">
              <a:lnSpc>
                <a:spcPct val="130000"/>
              </a:lnSpc>
              <a:spcBef>
                <a:spcPts val="600"/>
              </a:spcBef>
              <a:buNone/>
            </a:pPr>
            <a:r>
              <a:rPr lang="en-ZA" sz="36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in every classroom </a:t>
            </a:r>
          </a:p>
          <a:p>
            <a:pPr marL="0" lvl="1" indent="0" algn="ctr">
              <a:lnSpc>
                <a:spcPct val="130000"/>
              </a:lnSpc>
              <a:spcBef>
                <a:spcPts val="600"/>
              </a:spcBef>
              <a:buNone/>
            </a:pPr>
            <a:r>
              <a:rPr lang="en-ZA" sz="36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in every school</a:t>
            </a:r>
          </a:p>
          <a:p>
            <a:pPr marL="0" lvl="1" indent="0" algn="ctr">
              <a:lnSpc>
                <a:spcPct val="130000"/>
              </a:lnSpc>
              <a:spcBef>
                <a:spcPts val="600"/>
              </a:spcBef>
              <a:buNone/>
            </a:pPr>
            <a:r>
              <a:rPr lang="en-ZA" sz="36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 in the provinc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9814743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5275" y="152400"/>
            <a:ext cx="8597205" cy="685800"/>
          </a:xfrm>
        </p:spPr>
        <p:txBody>
          <a:bodyPr>
            <a:normAutofit/>
          </a:bodyPr>
          <a:lstStyle/>
          <a:p>
            <a:r>
              <a:rPr lang="en-GB" dirty="0"/>
              <a:t>Audit History 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solidFill>
                  <a:srgbClr val="998F86"/>
                </a:solidFill>
              </a:rPr>
              <a:t>Portfolio Committee on Basic Education 6 February 2018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5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295275" y="1412875"/>
            <a:ext cx="8620125" cy="4032448"/>
          </a:xfrm>
        </p:spPr>
        <p:txBody>
          <a:bodyPr>
            <a:normAutofit/>
          </a:bodyPr>
          <a:lstStyle/>
          <a:p>
            <a:pPr marL="0" lvl="1" indent="0" algn="ctr">
              <a:lnSpc>
                <a:spcPct val="130000"/>
              </a:lnSpc>
              <a:spcBef>
                <a:spcPts val="600"/>
              </a:spcBef>
              <a:buNone/>
            </a:pPr>
            <a:r>
              <a:rPr lang="en-ZA" sz="36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Clean Audit</a:t>
            </a:r>
          </a:p>
          <a:p>
            <a:pPr marL="0" lvl="1" indent="0" algn="ctr">
              <a:lnSpc>
                <a:spcPct val="130000"/>
              </a:lnSpc>
              <a:spcBef>
                <a:spcPts val="600"/>
              </a:spcBef>
              <a:buNone/>
            </a:pPr>
            <a:r>
              <a:rPr lang="en-ZA" sz="36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For </a:t>
            </a:r>
          </a:p>
          <a:p>
            <a:pPr marL="0" lvl="1" indent="0" algn="ctr">
              <a:lnSpc>
                <a:spcPct val="130000"/>
              </a:lnSpc>
              <a:spcBef>
                <a:spcPts val="600"/>
              </a:spcBef>
              <a:buNone/>
            </a:pPr>
            <a:r>
              <a:rPr lang="en-ZA" sz="4400" b="1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three</a:t>
            </a:r>
          </a:p>
          <a:p>
            <a:pPr marL="0" lvl="1" indent="0" algn="ctr">
              <a:lnSpc>
                <a:spcPct val="130000"/>
              </a:lnSpc>
              <a:spcBef>
                <a:spcPts val="600"/>
              </a:spcBef>
              <a:buNone/>
            </a:pPr>
            <a:r>
              <a:rPr lang="en-ZA" sz="36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consecutive year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234239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ZA" dirty="0"/>
              <a:t>Towards full inclusion of MTSF indicators</a:t>
            </a:r>
          </a:p>
        </p:txBody>
      </p:sp>
    </p:spTree>
    <p:extLst>
      <p:ext uri="{BB962C8B-B14F-4D97-AF65-F5344CB8AC3E}">
        <p14:creationId xmlns:p14="http://schemas.microsoft.com/office/powerpoint/2010/main" xmlns="" val="24255292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Binding Constraints</a:t>
            </a:r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ortfolio Committee on Basic Education 6 February 2018</a:t>
            </a:r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7</a:t>
            </a:fld>
            <a:endParaRPr lang="en-ZA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24918" y="1196752"/>
            <a:ext cx="8053161" cy="4447482"/>
          </a:xfrm>
        </p:spPr>
        <p:txBody>
          <a:bodyPr>
            <a:noAutofit/>
          </a:bodyPr>
          <a:lstStyle/>
          <a:p>
            <a:pPr marL="228600" lvl="1" indent="-228600" algn="just">
              <a:spcBef>
                <a:spcPts val="600"/>
              </a:spcBef>
              <a:defRPr/>
            </a:pPr>
            <a:r>
              <a:rPr lang="en-US" altLang="en-US" sz="18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Financial pressure</a:t>
            </a:r>
          </a:p>
          <a:p>
            <a:pPr marL="228600" lvl="1" indent="-228600" algn="just">
              <a:spcBef>
                <a:spcPts val="600"/>
              </a:spcBef>
              <a:defRPr/>
            </a:pPr>
            <a:r>
              <a:rPr lang="en-US" altLang="en-US" sz="18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Systems development to support data collection</a:t>
            </a:r>
          </a:p>
          <a:p>
            <a:pPr marL="228600" lvl="1" indent="-228600" algn="just">
              <a:spcBef>
                <a:spcPts val="600"/>
              </a:spcBef>
              <a:defRPr/>
            </a:pPr>
            <a:r>
              <a:rPr lang="en-US" altLang="en-US" sz="18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Unavailability of National measurement tools</a:t>
            </a:r>
          </a:p>
          <a:p>
            <a:pPr marL="228600" lvl="1" indent="-228600" algn="just">
              <a:spcBef>
                <a:spcPts val="600"/>
              </a:spcBef>
              <a:defRPr/>
            </a:pPr>
            <a:r>
              <a:rPr lang="en-US" altLang="en-US" sz="18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Reportability </a:t>
            </a:r>
          </a:p>
          <a:p>
            <a:pPr marL="228600" lvl="1" indent="-228600" algn="just">
              <a:spcBef>
                <a:spcPts val="600"/>
              </a:spcBef>
              <a:defRPr/>
            </a:pPr>
            <a:r>
              <a:rPr lang="en-US" altLang="en-US" sz="18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Measurability </a:t>
            </a:r>
          </a:p>
          <a:p>
            <a:pPr marL="228600" lvl="1" indent="-228600" algn="just">
              <a:spcBef>
                <a:spcPts val="600"/>
              </a:spcBef>
              <a:defRPr/>
            </a:pPr>
            <a:r>
              <a:rPr lang="en-US" altLang="en-US" sz="18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Human resource</a:t>
            </a:r>
          </a:p>
          <a:p>
            <a:pPr marL="228600" lvl="1" indent="-228600" algn="just">
              <a:spcBef>
                <a:spcPts val="600"/>
              </a:spcBef>
              <a:defRPr/>
            </a:pPr>
            <a:r>
              <a:rPr lang="en-US" altLang="en-US" sz="18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External human/union/policy factors not yet finalized</a:t>
            </a:r>
          </a:p>
          <a:p>
            <a:pPr marL="228600" lvl="1" indent="-228600" algn="just">
              <a:spcBef>
                <a:spcPts val="600"/>
              </a:spcBef>
              <a:defRPr/>
            </a:pPr>
            <a:r>
              <a:rPr lang="en-US" altLang="en-US" sz="18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Audit risk</a:t>
            </a:r>
          </a:p>
          <a:p>
            <a:pPr marL="228600" lvl="1" indent="-228600" algn="just">
              <a:spcBef>
                <a:spcPts val="600"/>
              </a:spcBef>
              <a:defRPr/>
            </a:pPr>
            <a:r>
              <a:rPr lang="en-US" altLang="en-US" sz="18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full clarity regarding TIDS – short definitions, source documents, verification, calculation method</a:t>
            </a:r>
          </a:p>
          <a:p>
            <a:pPr marL="228600" lvl="1" indent="-228600" algn="just">
              <a:spcBef>
                <a:spcPts val="600"/>
              </a:spcBef>
              <a:defRPr/>
            </a:pPr>
            <a:r>
              <a:rPr lang="en-US" altLang="en-US" sz="18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Systems already in automated, live use conflicting with named tools in PPM</a:t>
            </a:r>
          </a:p>
          <a:p>
            <a:pPr marL="228600" lvl="1" indent="-228600" algn="just">
              <a:spcBef>
                <a:spcPts val="600"/>
              </a:spcBef>
              <a:defRPr/>
            </a:pPr>
            <a:r>
              <a:rPr lang="en-US" altLang="en-US" sz="18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Reliance on externally provided denominators (source reliability)</a:t>
            </a:r>
          </a:p>
          <a:p>
            <a:pPr marL="0" lvl="1" indent="0" algn="just">
              <a:spcBef>
                <a:spcPts val="600"/>
              </a:spcBef>
              <a:buNone/>
              <a:defRPr/>
            </a:pPr>
            <a:endParaRPr lang="en-US" altLang="en-US" sz="2000" dirty="0">
              <a:solidFill>
                <a:schemeClr val="tx2">
                  <a:lumMod val="75000"/>
                </a:schemeClr>
              </a:solidFill>
              <a:latin typeface="Century Gothic"/>
              <a:ea typeface="Times New Roman"/>
              <a:cs typeface="Arial"/>
            </a:endParaRPr>
          </a:p>
          <a:p>
            <a:pPr marL="228600" lvl="1" indent="-228600" algn="just">
              <a:spcBef>
                <a:spcPts val="600"/>
              </a:spcBef>
              <a:defRPr/>
            </a:pPr>
            <a:endParaRPr lang="en-US" altLang="en-US" sz="1600" dirty="0">
              <a:latin typeface="Century Gothic"/>
              <a:ea typeface="Times New Roman"/>
              <a:cs typeface="Arial"/>
            </a:endParaRPr>
          </a:p>
          <a:p>
            <a:pPr marL="0" lvl="1" indent="0" algn="just">
              <a:lnSpc>
                <a:spcPct val="130000"/>
              </a:lnSpc>
              <a:spcBef>
                <a:spcPts val="600"/>
              </a:spcBef>
              <a:buNone/>
              <a:defRPr/>
            </a:pPr>
            <a:endParaRPr lang="en-US" altLang="en-US" sz="1600" dirty="0">
              <a:latin typeface="Century Gothic"/>
              <a:ea typeface="Times New Roman"/>
              <a:cs typeface="Arial"/>
            </a:endParaRPr>
          </a:p>
          <a:p>
            <a:pPr marL="0" lvl="1" indent="0" algn="just">
              <a:lnSpc>
                <a:spcPct val="130000"/>
              </a:lnSpc>
              <a:spcBef>
                <a:spcPts val="600"/>
              </a:spcBef>
              <a:buNone/>
              <a:defRPr/>
            </a:pPr>
            <a:endParaRPr lang="en-US" altLang="en-US" sz="1600" dirty="0">
              <a:latin typeface="Century Gothic"/>
              <a:ea typeface="Times New Roman"/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3472056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xmlns="" id="{B308B022-39A1-4E9A-8844-5DB421E4BF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TSF in APP 201718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F306B57-F73D-4B80-A543-B2EB2E500C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8</a:t>
            </a:fld>
            <a:endParaRPr lang="en-Z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4A9063E-0AC8-4406-BC44-2725140242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ortfolio Committee on Basic Education 6 February 2018</a:t>
            </a:r>
            <a:endParaRPr lang="en-GB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xmlns="" id="{2B5EF622-E81E-4CD9-A7EF-0CF6C2CE09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3850" y="1196753"/>
            <a:ext cx="8054230" cy="4320479"/>
          </a:xfrm>
        </p:spPr>
        <p:txBody>
          <a:bodyPr>
            <a:noAutofit/>
          </a:bodyPr>
          <a:lstStyle/>
          <a:p>
            <a:pPr marL="228600" lvl="1" indent="-228600" algn="just">
              <a:spcBef>
                <a:spcPts val="600"/>
              </a:spcBef>
              <a:defRPr/>
            </a:pPr>
            <a:r>
              <a:rPr lang="en-US" altLang="en-US" sz="20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Initially excluded as, at time of going to print, no formal clarity had been received regarding inclusion</a:t>
            </a:r>
          </a:p>
          <a:p>
            <a:pPr marL="228600" lvl="1" indent="-228600" algn="just">
              <a:spcBef>
                <a:spcPts val="600"/>
              </a:spcBef>
              <a:defRPr/>
            </a:pPr>
            <a:r>
              <a:rPr lang="en-US" altLang="en-US" sz="20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Subsequent DG letter dated 04 May 2017 instructed PED to include MTSF indicators</a:t>
            </a:r>
          </a:p>
          <a:p>
            <a:pPr marL="228600" lvl="1" indent="-228600" algn="just">
              <a:spcBef>
                <a:spcPts val="600"/>
              </a:spcBef>
              <a:defRPr/>
            </a:pPr>
            <a:r>
              <a:rPr lang="en-US" altLang="en-US" sz="20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Additional DG letter dated 27 October 2017 listed “negative audit findings” as a consequence of non-inclusion</a:t>
            </a:r>
          </a:p>
          <a:p>
            <a:pPr marL="228600" lvl="1" indent="-228600" algn="just">
              <a:spcBef>
                <a:spcPts val="600"/>
              </a:spcBef>
              <a:defRPr/>
            </a:pPr>
            <a:r>
              <a:rPr lang="en-US" altLang="en-US" sz="20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In-year amendments requested for inclusion of MTSF indicators 09 November 2017</a:t>
            </a:r>
          </a:p>
          <a:p>
            <a:pPr marL="228600" lvl="1" indent="-228600" algn="just">
              <a:spcBef>
                <a:spcPts val="600"/>
              </a:spcBef>
              <a:defRPr/>
            </a:pPr>
            <a:r>
              <a:rPr lang="en-US" altLang="en-US" sz="20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Request assessed by APP Amendment Panel and supported</a:t>
            </a:r>
          </a:p>
          <a:p>
            <a:pPr marL="228600" lvl="1" indent="-228600" algn="just">
              <a:spcBef>
                <a:spcPts val="600"/>
              </a:spcBef>
              <a:defRPr/>
            </a:pPr>
            <a:r>
              <a:rPr lang="en-US" altLang="en-US" sz="20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MTSF indicators included in Annexure G as agreed with AG</a:t>
            </a:r>
          </a:p>
          <a:p>
            <a:pPr marL="228600" lvl="1" indent="-228600" algn="just">
              <a:spcBef>
                <a:spcPts val="600"/>
              </a:spcBef>
              <a:defRPr/>
            </a:pPr>
            <a:r>
              <a:rPr lang="en-US" altLang="en-US" sz="20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Annexure G uploaded to website http://wced.school.za</a:t>
            </a:r>
          </a:p>
          <a:p>
            <a:pPr marL="0" lvl="1" indent="0" algn="just">
              <a:spcBef>
                <a:spcPts val="600"/>
              </a:spcBef>
              <a:buNone/>
              <a:defRPr/>
            </a:pPr>
            <a:endParaRPr lang="en-US" altLang="en-US" sz="2000" dirty="0">
              <a:solidFill>
                <a:schemeClr val="tx2">
                  <a:lumMod val="75000"/>
                </a:schemeClr>
              </a:solidFill>
              <a:latin typeface="Century Gothic"/>
              <a:ea typeface="Times New Roman"/>
              <a:cs typeface="Arial"/>
            </a:endParaRPr>
          </a:p>
          <a:p>
            <a:pPr marL="228600" lvl="1" indent="-228600" algn="just">
              <a:spcBef>
                <a:spcPts val="600"/>
              </a:spcBef>
              <a:defRPr/>
            </a:pPr>
            <a:endParaRPr lang="en-US" altLang="en-US" sz="2000" dirty="0">
              <a:solidFill>
                <a:schemeClr val="tx2">
                  <a:lumMod val="75000"/>
                </a:schemeClr>
              </a:solidFill>
              <a:latin typeface="Century Gothic"/>
              <a:ea typeface="Times New Roman"/>
              <a:cs typeface="Arial"/>
            </a:endParaRPr>
          </a:p>
          <a:p>
            <a:pPr marL="0" lvl="1" indent="0" algn="just">
              <a:spcBef>
                <a:spcPts val="600"/>
              </a:spcBef>
              <a:buNone/>
              <a:defRPr/>
            </a:pPr>
            <a:endParaRPr lang="en-US" altLang="en-US" sz="2000" dirty="0">
              <a:solidFill>
                <a:schemeClr val="tx2">
                  <a:lumMod val="75000"/>
                </a:schemeClr>
              </a:solidFill>
              <a:latin typeface="Century Gothic"/>
              <a:ea typeface="Times New Roman"/>
              <a:cs typeface="Arial"/>
            </a:endParaRPr>
          </a:p>
          <a:p>
            <a:pPr marL="228600" lvl="1" indent="-228600" algn="just">
              <a:spcBef>
                <a:spcPts val="600"/>
              </a:spcBef>
              <a:defRPr/>
            </a:pPr>
            <a:endParaRPr lang="en-US" altLang="en-US" sz="1600" dirty="0">
              <a:latin typeface="Century Gothic"/>
              <a:ea typeface="Times New Roman"/>
              <a:cs typeface="Arial"/>
            </a:endParaRPr>
          </a:p>
          <a:p>
            <a:pPr marL="0" lvl="1" indent="0" algn="just">
              <a:lnSpc>
                <a:spcPct val="130000"/>
              </a:lnSpc>
              <a:spcBef>
                <a:spcPts val="600"/>
              </a:spcBef>
              <a:buNone/>
              <a:defRPr/>
            </a:pPr>
            <a:endParaRPr lang="en-US" altLang="en-US" sz="1600" dirty="0">
              <a:latin typeface="Century Gothic"/>
              <a:ea typeface="Times New Roman"/>
              <a:cs typeface="Arial"/>
            </a:endParaRPr>
          </a:p>
          <a:p>
            <a:pPr marL="0" lvl="1" indent="0" algn="just">
              <a:lnSpc>
                <a:spcPct val="130000"/>
              </a:lnSpc>
              <a:spcBef>
                <a:spcPts val="600"/>
              </a:spcBef>
              <a:buNone/>
              <a:defRPr/>
            </a:pPr>
            <a:endParaRPr lang="en-US" altLang="en-US" sz="1600" dirty="0">
              <a:latin typeface="Century Gothic"/>
              <a:ea typeface="Times New Roman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817331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ortfolio Committee on Basic Education 6 February 2018</a:t>
            </a:r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9</a:t>
            </a:fld>
            <a:endParaRPr lang="en-ZA" dirty="0"/>
          </a:p>
        </p:txBody>
      </p:sp>
      <p:sp>
        <p:nvSpPr>
          <p:cNvPr id="8" name="Title 5"/>
          <p:cNvSpPr>
            <a:spLocks noGrp="1"/>
          </p:cNvSpPr>
          <p:nvPr>
            <p:ph type="title"/>
          </p:nvPr>
        </p:nvSpPr>
        <p:spPr>
          <a:xfrm>
            <a:off x="323527" y="180976"/>
            <a:ext cx="8784977" cy="559256"/>
          </a:xfrm>
        </p:spPr>
        <p:txBody>
          <a:bodyPr/>
          <a:lstStyle/>
          <a:p>
            <a:r>
              <a:rPr lang="en-GB" dirty="0"/>
              <a:t>MTSF in APP 201819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xmlns="" id="{57A6EB24-FE57-404D-BA07-1D99D949EE65}"/>
              </a:ext>
            </a:extLst>
          </p:cNvPr>
          <p:cNvSpPr txBox="1">
            <a:spLocks/>
          </p:cNvSpPr>
          <p:nvPr/>
        </p:nvSpPr>
        <p:spPr>
          <a:xfrm>
            <a:off x="323850" y="1196753"/>
            <a:ext cx="8054230" cy="43204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4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1" indent="-228600" algn="just">
              <a:spcBef>
                <a:spcPts val="600"/>
              </a:spcBef>
              <a:defRPr/>
            </a:pPr>
            <a:r>
              <a:rPr lang="en-US" altLang="en-US" sz="20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HEDCOM Sub-Committee formulated PPMs to incorporate MTSF indicators</a:t>
            </a:r>
          </a:p>
          <a:p>
            <a:pPr marL="228600" lvl="1" indent="-228600" algn="just">
              <a:spcBef>
                <a:spcPts val="600"/>
              </a:spcBef>
              <a:defRPr/>
            </a:pPr>
            <a:r>
              <a:rPr lang="en-US" altLang="en-US" sz="20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TIDs were mostly agreed </a:t>
            </a:r>
          </a:p>
          <a:p>
            <a:pPr marL="228600" lvl="1" indent="-228600" algn="just">
              <a:spcBef>
                <a:spcPts val="600"/>
              </a:spcBef>
              <a:defRPr/>
            </a:pPr>
            <a:r>
              <a:rPr lang="en-US" altLang="en-US" sz="20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A number of issues remain unresolved and raised at HEDCOM for further discussion at final HEDCOM workshop for 2017</a:t>
            </a:r>
          </a:p>
          <a:p>
            <a:pPr marL="228600" lvl="1" indent="-228600" algn="just">
              <a:spcBef>
                <a:spcPts val="600"/>
              </a:spcBef>
              <a:defRPr/>
            </a:pPr>
            <a:r>
              <a:rPr lang="en-US" altLang="en-US" sz="20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These unresolved issues will impact on</a:t>
            </a:r>
          </a:p>
          <a:p>
            <a:pPr marL="408600" lvl="2" indent="-228600" algn="just">
              <a:spcBef>
                <a:spcPts val="600"/>
              </a:spcBef>
              <a:defRPr/>
            </a:pPr>
            <a:r>
              <a:rPr lang="en-US" altLang="en-US" sz="20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 targets set</a:t>
            </a:r>
          </a:p>
          <a:p>
            <a:pPr marL="408600" lvl="2" indent="-228600" algn="just">
              <a:spcBef>
                <a:spcPts val="600"/>
              </a:spcBef>
              <a:defRPr/>
            </a:pPr>
            <a:r>
              <a:rPr lang="en-US" altLang="en-US" sz="20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Ability to accurately measure</a:t>
            </a:r>
          </a:p>
          <a:p>
            <a:pPr marL="408600" lvl="2" indent="-228600" algn="just">
              <a:spcBef>
                <a:spcPts val="600"/>
              </a:spcBef>
              <a:defRPr/>
            </a:pPr>
            <a:r>
              <a:rPr lang="en-US" altLang="en-US" sz="20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Ability to reliably report</a:t>
            </a:r>
          </a:p>
          <a:p>
            <a:pPr marL="408600" lvl="2" indent="-228600" algn="just">
              <a:spcBef>
                <a:spcPts val="600"/>
              </a:spcBef>
              <a:defRPr/>
            </a:pPr>
            <a:r>
              <a:rPr lang="en-US" altLang="en-US" sz="20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Ability to reliably verify</a:t>
            </a:r>
          </a:p>
          <a:p>
            <a:pPr marL="408600" lvl="2" indent="-228600" algn="just">
              <a:spcBef>
                <a:spcPts val="600"/>
              </a:spcBef>
              <a:defRPr/>
            </a:pPr>
            <a:r>
              <a:rPr lang="en-US" altLang="en-US" sz="20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Auditability of process – funding and nature of business makes control extremely hard </a:t>
            </a:r>
            <a:r>
              <a:rPr lang="en-US" altLang="en-US" sz="2000" dirty="0" err="1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wrt</a:t>
            </a:r>
            <a:r>
              <a:rPr lang="en-US" altLang="en-US" sz="20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Times New Roman"/>
                <a:cs typeface="Arial"/>
              </a:rPr>
              <a:t> whole curriculum coverage  </a:t>
            </a:r>
          </a:p>
          <a:p>
            <a:pPr marL="0" lvl="1" indent="0" algn="just">
              <a:spcBef>
                <a:spcPts val="600"/>
              </a:spcBef>
              <a:buNone/>
              <a:defRPr/>
            </a:pPr>
            <a:endParaRPr lang="en-US" altLang="en-US" sz="2000" dirty="0">
              <a:solidFill>
                <a:schemeClr val="tx2">
                  <a:lumMod val="75000"/>
                </a:schemeClr>
              </a:solidFill>
              <a:latin typeface="Century Gothic"/>
              <a:ea typeface="Times New Roman"/>
              <a:cs typeface="Arial"/>
            </a:endParaRPr>
          </a:p>
          <a:p>
            <a:pPr marL="0" lvl="1" indent="0" algn="just">
              <a:spcBef>
                <a:spcPts val="600"/>
              </a:spcBef>
              <a:buFontTx/>
              <a:buNone/>
              <a:defRPr/>
            </a:pPr>
            <a:endParaRPr lang="en-US" altLang="en-US" sz="2000" dirty="0">
              <a:solidFill>
                <a:schemeClr val="tx2">
                  <a:lumMod val="75000"/>
                </a:schemeClr>
              </a:solidFill>
              <a:latin typeface="Century Gothic"/>
              <a:ea typeface="Times New Roman"/>
              <a:cs typeface="Arial"/>
            </a:endParaRPr>
          </a:p>
          <a:p>
            <a:pPr marL="0" lvl="1" indent="0" algn="just">
              <a:spcBef>
                <a:spcPts val="600"/>
              </a:spcBef>
              <a:buNone/>
              <a:defRPr/>
            </a:pPr>
            <a:endParaRPr lang="en-US" altLang="en-US" dirty="0">
              <a:latin typeface="Century Gothic"/>
              <a:ea typeface="Times New Roman"/>
              <a:cs typeface="Arial"/>
            </a:endParaRPr>
          </a:p>
          <a:p>
            <a:pPr marL="0" lvl="1" indent="0" algn="just">
              <a:lnSpc>
                <a:spcPct val="130000"/>
              </a:lnSpc>
              <a:spcBef>
                <a:spcPts val="600"/>
              </a:spcBef>
              <a:buFontTx/>
              <a:buNone/>
              <a:defRPr/>
            </a:pPr>
            <a:endParaRPr lang="en-US" altLang="en-US" dirty="0">
              <a:latin typeface="Century Gothic"/>
              <a:ea typeface="Times New Roman"/>
              <a:cs typeface="Arial"/>
            </a:endParaRPr>
          </a:p>
          <a:p>
            <a:pPr marL="0" lvl="1" indent="0" algn="just">
              <a:lnSpc>
                <a:spcPct val="130000"/>
              </a:lnSpc>
              <a:spcBef>
                <a:spcPts val="600"/>
              </a:spcBef>
              <a:buFontTx/>
              <a:buNone/>
              <a:defRPr/>
            </a:pPr>
            <a:endParaRPr lang="en-US" altLang="en-US" dirty="0">
              <a:latin typeface="Century Gothic"/>
              <a:ea typeface="Times New Roman"/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4248950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5" val="n/h/r1zNZ+uLfX4pvKHBZZMsZqKpVmQp"/>
  <p:tag name="SMARTBOX_SB2" val="4EA1ZNr7a5lNBMyQCX9x/TKDuKOrxNs8"/>
  <p:tag name="THINKCELLPRESENTATIONDONOTDELETE" val="&lt;?xml version=&quot;1.0&quot; encoding=&quot;UTF-16&quot; standalone=&quot;yes&quot;?&gt;&#10;&lt;root reqver=&quot;17839&quot;&gt;&lt;version val=&quot;2107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2.71000000000000000000E+000&quot;&gt;&lt;m_ppcolschidx val=&quot;0&quot;/&gt;&lt;m_rgb r=&quot;0&quot; g=&quot;32&quot; b=&quot;9b&quot;/&gt;&lt;/elem&gt;&lt;elem m_fUsage=&quot;7.29000000000000090000E-001&quot;&gt;&lt;m_ppcolschidx val=&quot;0&quot;/&gt;&lt;m_rgb r=&quot;0&quot; g=&quot;96&quot; b=&quot;33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68"/>
  <p:tag name="SMARTBOX_SB1" val="yPDc+YGAsVDnrAdBfm5OLomapWE3kVAqh9b2jawd28kRYNSZ2VM9Zq8jLnRQsKd+zm3flYlSQ3N6EyKkSMGAbtXZPDAgzPCqp12cLtaehhktX0tL2QJLqhJXT50rTZFve8mXKum9VLtDf8/Ef4PJE20Wfd9sEmg5jcWpaEZMyas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MITRdUpyHwM6PGpPPEYuEBrVOl0s1/nY"/>
  <p:tag name="SMARTBOX_SB8" val="gT+5zEvuWyI5UqgzyKYBsg=="/>
  <p:tag name="SMARTBOX_SB7" val="JjA9eqtaKbMPgxHPa8ygGg==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MITRdUpyHwM6PGpPPEYuEBrVOl0s1/nY"/>
  <p:tag name="SMARTBOX_SB8" val="gT+5zEvuWyI5UqgzyKYBsg=="/>
  <p:tag name="SMARTBOX_SB7" val="JjA9eqtaKbMPgxHPa8ygGg==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MITRdUpyHwM6PGpPPEYuEBrVOl0s1/nY"/>
  <p:tag name="SMARTBOX_SB8" val="gT+5zEvuWyI5UqgzyKYBsg=="/>
  <p:tag name="SMARTBOX_SB7" val="JjA9eqtaKbMPgxHPa8ygGg==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MITRdUpyHwM6PGpPPEYuEBrVOl0s1/nY"/>
  <p:tag name="SMARTBOX_SB8" val="gT+5zEvuWyI5UqgzyKYBsg=="/>
  <p:tag name="SMARTBOX_SB7" val="JjA9eqtaKbMPgxHPa8ygGg==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MITRdUpyHwM6PGpPPEYuEBrVOl0s1/nY"/>
  <p:tag name="SMARTBOX_SB8" val="gT+5zEvuWyI5UqgzyKYBsg=="/>
  <p:tag name="SMARTBOX_SB7" val="JjA9eqtaKbMPgxHPa8ygGg==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W7sZ06LbXOADmgFMdiD8S7mwauFqwXJB"/>
  <p:tag name="SMARTBOX_SB8" val="5zbCZmvvwdXViW/PdaUP0A=="/>
  <p:tag name="SMARTBOX_SB7" val="okpar52XqDQrSAOpqNqg5Q==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MITRdUpyHwM6PGpPPEYuEBrVOl0s1/nY"/>
  <p:tag name="SMARTBOX_SB8" val="gT+5zEvuWyI5UqgzyKYBsg=="/>
  <p:tag name="SMARTBOX_SB7" val="JjA9eqtaKbMPgxHPa8ygGg==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MITRdUpyHwM6PGpPPEYuEBrVOl0s1/nY"/>
  <p:tag name="SMARTBOX_SB8" val="gT+5zEvuWyI5UqgzyKYBsg=="/>
  <p:tag name="SMARTBOX_SB7" val="JjA9eqtaKbMPgxHPa8ygGg==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MITRdUpyHwM6PGpPPEYuEBrVOl0s1/nY"/>
  <p:tag name="SMARTBOX_SB8" val="gT+5zEvuWyI5UqgzyKYBsg=="/>
  <p:tag name="SMARTBOX_SB7" val="JjA9eqtaKbMPgxHPa8ygGg=="/>
</p:tagLst>
</file>

<file path=ppt/theme/theme1.xml><?xml version="1.0" encoding="utf-8"?>
<a:theme xmlns:a="http://schemas.openxmlformats.org/drawingml/2006/main" name="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4_WCG-Provincial Treasury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83</TotalTime>
  <Words>1745</Words>
  <Application>Microsoft Office PowerPoint</Application>
  <PresentationFormat>On-screen Show (4:3)</PresentationFormat>
  <Paragraphs>386</Paragraphs>
  <Slides>22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5" baseType="lpstr">
      <vt:lpstr>WCG-PPT Master-121022-amc</vt:lpstr>
      <vt:lpstr>4_WCG-Provincial Treasury-New PPT Master-01112012</vt:lpstr>
      <vt:lpstr>think-cell Slide</vt:lpstr>
      <vt:lpstr>Portfolio Committee</vt:lpstr>
      <vt:lpstr>Outline</vt:lpstr>
      <vt:lpstr>Slide 3</vt:lpstr>
      <vt:lpstr>Vision </vt:lpstr>
      <vt:lpstr>Audit History </vt:lpstr>
      <vt:lpstr>Slide 6</vt:lpstr>
      <vt:lpstr>Binding Constraints</vt:lpstr>
      <vt:lpstr>MTSF in APP 201718</vt:lpstr>
      <vt:lpstr>MTSF in APP 201819</vt:lpstr>
      <vt:lpstr>Slide 10</vt:lpstr>
      <vt:lpstr>MTSF in APP 201819</vt:lpstr>
      <vt:lpstr>Slide 12</vt:lpstr>
      <vt:lpstr>Program 1</vt:lpstr>
      <vt:lpstr>Program 2</vt:lpstr>
      <vt:lpstr>Program 2</vt:lpstr>
      <vt:lpstr>Slide 16</vt:lpstr>
      <vt:lpstr>Program 2</vt:lpstr>
      <vt:lpstr>Program 2</vt:lpstr>
      <vt:lpstr>Program 7</vt:lpstr>
      <vt:lpstr>Slide 20</vt:lpstr>
      <vt:lpstr>For Noting</vt:lpstr>
      <vt:lpstr>Slide 22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arda Conrad</dc:creator>
  <cp:keywords>POTX</cp:keywords>
  <cp:lastModifiedBy>PUMZA</cp:lastModifiedBy>
  <cp:revision>219</cp:revision>
  <cp:lastPrinted>2016-10-05T04:26:02Z</cp:lastPrinted>
  <dcterms:created xsi:type="dcterms:W3CDTF">2012-11-01T08:19:05Z</dcterms:created>
  <dcterms:modified xsi:type="dcterms:W3CDTF">2018-02-07T12:46:03Z</dcterms:modified>
  <cp:category>CI</cp:category>
</cp:coreProperties>
</file>